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41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5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1945" r:id="rId11"/>
    <p:sldId id="1962" r:id="rId12"/>
    <p:sldId id="1994" r:id="rId13"/>
    <p:sldId id="1996" r:id="rId14"/>
    <p:sldId id="2030" r:id="rId15"/>
    <p:sldId id="2047" r:id="rId16"/>
    <p:sldId id="1998" r:id="rId17"/>
    <p:sldId id="2049" r:id="rId18"/>
    <p:sldId id="2050" r:id="rId19"/>
    <p:sldId id="2051" r:id="rId20"/>
    <p:sldId id="2052" r:id="rId21"/>
    <p:sldId id="2053" r:id="rId22"/>
    <p:sldId id="2054" r:id="rId23"/>
    <p:sldId id="2055" r:id="rId24"/>
    <p:sldId id="2056" r:id="rId25"/>
    <p:sldId id="2057" r:id="rId26"/>
    <p:sldId id="2058" r:id="rId27"/>
    <p:sldId id="2059" r:id="rId28"/>
    <p:sldId id="2060" r:id="rId29"/>
    <p:sldId id="2061" r:id="rId30"/>
    <p:sldId id="2062" r:id="rId31"/>
    <p:sldId id="1942" r:id="rId32"/>
    <p:sldId id="1474" r:id="rId33"/>
    <p:sldId id="1481" r:id="rId34"/>
    <p:sldId id="1482" r:id="rId35"/>
    <p:sldId id="1475" r:id="rId36"/>
    <p:sldId id="1483" r:id="rId37"/>
    <p:sldId id="1923" r:id="rId38"/>
    <p:sldId id="1476" r:id="rId39"/>
    <p:sldId id="1523" r:id="rId40"/>
    <p:sldId id="1524" r:id="rId41"/>
    <p:sldId id="1595" r:id="rId42"/>
    <p:sldId id="1639" r:id="rId43"/>
    <p:sldId id="1802" r:id="rId44"/>
    <p:sldId id="1829" r:id="rId45"/>
    <p:sldId id="1823" r:id="rId46"/>
    <p:sldId id="1845" r:id="rId47"/>
    <p:sldId id="1864" r:id="rId48"/>
    <p:sldId id="1866" r:id="rId49"/>
    <p:sldId id="1886" r:id="rId50"/>
    <p:sldId id="1528" r:id="rId51"/>
    <p:sldId id="1530" r:id="rId52"/>
    <p:sldId id="1571" r:id="rId53"/>
    <p:sldId id="1572" r:id="rId54"/>
    <p:sldId id="1596" r:id="rId55"/>
    <p:sldId id="1615" r:id="rId56"/>
    <p:sldId id="1617" r:id="rId57"/>
    <p:sldId id="1641" r:id="rId58"/>
    <p:sldId id="1784" r:id="rId59"/>
    <p:sldId id="1804" r:id="rId60"/>
    <p:sldId id="1888" r:id="rId61"/>
    <p:sldId id="1907" r:id="rId62"/>
    <p:sldId id="1592" r:id="rId63"/>
    <p:sldId id="1593" r:id="rId64"/>
  </p:sldIdLst>
  <p:sldSz cx="12192000" cy="6858000"/>
  <p:notesSz cx="6858000" cy="9144000"/>
  <p:custDataLst>
    <p:tags r:id="rId6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1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330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S$1</c:f>
              <c:strCache>
                <c:ptCount val="96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  <c:pt idx="95">
                  <c:v>21.2.–27.2.</c:v>
                </c:pt>
              </c:strCache>
            </c:strRef>
          </c:cat>
          <c:val>
            <c:numRef>
              <c:f>List1!$B$2:$CS$2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49</c:v>
                </c:pt>
                <c:pt idx="91">
                  <c:v>296</c:v>
                </c:pt>
                <c:pt idx="92">
                  <c:v>450</c:v>
                </c:pt>
                <c:pt idx="93">
                  <c:v>694</c:v>
                </c:pt>
                <c:pt idx="94">
                  <c:v>325</c:v>
                </c:pt>
                <c:pt idx="95">
                  <c:v>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6818478910845647</c:v>
                </c:pt>
                <c:pt idx="1">
                  <c:v>0.33181521089154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032659996224</c:v>
                </c:pt>
                <c:pt idx="1">
                  <c:v>8.9673400037757216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624203821656054</c:v>
                </c:pt>
                <c:pt idx="1">
                  <c:v>0.13375796178343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4.5361967148006825E-2"/>
                  <c:y val="8.462190575390189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523207812074348</c:v>
                </c:pt>
                <c:pt idx="1">
                  <c:v>7.47679218792565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B$2:$B$544</c:f>
              <c:numCache>
                <c:formatCode>General</c:formatCode>
                <c:ptCount val="543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6</c:v>
                </c:pt>
                <c:pt idx="24">
                  <c:v>27</c:v>
                </c:pt>
                <c:pt idx="25">
                  <c:v>32</c:v>
                </c:pt>
                <c:pt idx="26">
                  <c:v>37</c:v>
                </c:pt>
                <c:pt idx="27">
                  <c:v>40</c:v>
                </c:pt>
                <c:pt idx="28">
                  <c:v>45</c:v>
                </c:pt>
                <c:pt idx="29">
                  <c:v>73</c:v>
                </c:pt>
                <c:pt idx="30">
                  <c:v>104</c:v>
                </c:pt>
                <c:pt idx="31">
                  <c:v>166</c:v>
                </c:pt>
                <c:pt idx="32">
                  <c:v>202</c:v>
                </c:pt>
                <c:pt idx="33">
                  <c:v>256</c:v>
                </c:pt>
                <c:pt idx="34">
                  <c:v>423</c:v>
                </c:pt>
                <c:pt idx="35">
                  <c:v>505</c:v>
                </c:pt>
                <c:pt idx="36">
                  <c:v>550</c:v>
                </c:pt>
                <c:pt idx="37">
                  <c:v>629</c:v>
                </c:pt>
                <c:pt idx="38">
                  <c:v>768</c:v>
                </c:pt>
                <c:pt idx="39">
                  <c:v>798</c:v>
                </c:pt>
                <c:pt idx="40">
                  <c:v>811</c:v>
                </c:pt>
                <c:pt idx="41">
                  <c:v>950</c:v>
                </c:pt>
                <c:pt idx="42">
                  <c:v>1175</c:v>
                </c:pt>
                <c:pt idx="43">
                  <c:v>1356</c:v>
                </c:pt>
                <c:pt idx="44">
                  <c:v>1559</c:v>
                </c:pt>
                <c:pt idx="45">
                  <c:v>1765</c:v>
                </c:pt>
                <c:pt idx="46">
                  <c:v>1922</c:v>
                </c:pt>
                <c:pt idx="47">
                  <c:v>1963</c:v>
                </c:pt>
                <c:pt idx="48">
                  <c:v>2209</c:v>
                </c:pt>
                <c:pt idx="49">
                  <c:v>2411</c:v>
                </c:pt>
                <c:pt idx="50">
                  <c:v>2738</c:v>
                </c:pt>
                <c:pt idx="51">
                  <c:v>2975</c:v>
                </c:pt>
                <c:pt idx="52">
                  <c:v>3399</c:v>
                </c:pt>
                <c:pt idx="53">
                  <c:v>3627</c:v>
                </c:pt>
                <c:pt idx="54">
                  <c:v>3825</c:v>
                </c:pt>
                <c:pt idx="55">
                  <c:v>4215</c:v>
                </c:pt>
                <c:pt idx="56">
                  <c:v>4751</c:v>
                </c:pt>
                <c:pt idx="57">
                  <c:v>5014</c:v>
                </c:pt>
                <c:pt idx="58">
                  <c:v>5559</c:v>
                </c:pt>
                <c:pt idx="59">
                  <c:v>6148</c:v>
                </c:pt>
                <c:pt idx="60">
                  <c:v>6487</c:v>
                </c:pt>
                <c:pt idx="61">
                  <c:v>6701</c:v>
                </c:pt>
                <c:pt idx="62">
                  <c:v>7038</c:v>
                </c:pt>
                <c:pt idx="63">
                  <c:v>7387</c:v>
                </c:pt>
                <c:pt idx="64">
                  <c:v>7813</c:v>
                </c:pt>
                <c:pt idx="65">
                  <c:v>8354</c:v>
                </c:pt>
                <c:pt idx="66">
                  <c:v>8848</c:v>
                </c:pt>
                <c:pt idx="67">
                  <c:v>9063</c:v>
                </c:pt>
                <c:pt idx="68">
                  <c:v>9143</c:v>
                </c:pt>
                <c:pt idx="69">
                  <c:v>9350</c:v>
                </c:pt>
                <c:pt idx="70">
                  <c:v>9736</c:v>
                </c:pt>
                <c:pt idx="71">
                  <c:v>10417</c:v>
                </c:pt>
                <c:pt idx="72">
                  <c:v>10920</c:v>
                </c:pt>
                <c:pt idx="73">
                  <c:v>11406</c:v>
                </c:pt>
                <c:pt idx="74">
                  <c:v>11589</c:v>
                </c:pt>
                <c:pt idx="75">
                  <c:v>11759</c:v>
                </c:pt>
                <c:pt idx="76">
                  <c:v>12150</c:v>
                </c:pt>
                <c:pt idx="77">
                  <c:v>12289</c:v>
                </c:pt>
                <c:pt idx="78">
                  <c:v>12558</c:v>
                </c:pt>
                <c:pt idx="79">
                  <c:v>12831</c:v>
                </c:pt>
                <c:pt idx="80">
                  <c:v>13075</c:v>
                </c:pt>
                <c:pt idx="81">
                  <c:v>13170</c:v>
                </c:pt>
                <c:pt idx="82">
                  <c:v>13262</c:v>
                </c:pt>
                <c:pt idx="83">
                  <c:v>13647</c:v>
                </c:pt>
                <c:pt idx="84">
                  <c:v>13848</c:v>
                </c:pt>
                <c:pt idx="85">
                  <c:v>13979</c:v>
                </c:pt>
                <c:pt idx="86">
                  <c:v>14178</c:v>
                </c:pt>
                <c:pt idx="87">
                  <c:v>14318</c:v>
                </c:pt>
                <c:pt idx="88">
                  <c:v>14396</c:v>
                </c:pt>
                <c:pt idx="89">
                  <c:v>14426</c:v>
                </c:pt>
                <c:pt idx="90">
                  <c:v>14639</c:v>
                </c:pt>
                <c:pt idx="91">
                  <c:v>14764</c:v>
                </c:pt>
                <c:pt idx="92">
                  <c:v>14898</c:v>
                </c:pt>
                <c:pt idx="93">
                  <c:v>15029</c:v>
                </c:pt>
                <c:pt idx="94">
                  <c:v>15177</c:v>
                </c:pt>
                <c:pt idx="95">
                  <c:v>15267</c:v>
                </c:pt>
                <c:pt idx="96">
                  <c:v>15289</c:v>
                </c:pt>
                <c:pt idx="97">
                  <c:v>15432</c:v>
                </c:pt>
                <c:pt idx="98">
                  <c:v>15523</c:v>
                </c:pt>
                <c:pt idx="99">
                  <c:v>15664</c:v>
                </c:pt>
                <c:pt idx="100">
                  <c:v>15749</c:v>
                </c:pt>
                <c:pt idx="101">
                  <c:v>15983</c:v>
                </c:pt>
                <c:pt idx="102">
                  <c:v>16050</c:v>
                </c:pt>
                <c:pt idx="103">
                  <c:v>16100</c:v>
                </c:pt>
                <c:pt idx="104">
                  <c:v>16250</c:v>
                </c:pt>
                <c:pt idx="105">
                  <c:v>16384</c:v>
                </c:pt>
                <c:pt idx="106">
                  <c:v>16484</c:v>
                </c:pt>
                <c:pt idx="107">
                  <c:v>16553</c:v>
                </c:pt>
                <c:pt idx="108">
                  <c:v>16776</c:v>
                </c:pt>
                <c:pt idx="109">
                  <c:v>16837</c:v>
                </c:pt>
                <c:pt idx="110">
                  <c:v>16859</c:v>
                </c:pt>
                <c:pt idx="111">
                  <c:v>17039</c:v>
                </c:pt>
                <c:pt idx="112">
                  <c:v>17217</c:v>
                </c:pt>
                <c:pt idx="113">
                  <c:v>17341</c:v>
                </c:pt>
                <c:pt idx="114">
                  <c:v>17359</c:v>
                </c:pt>
                <c:pt idx="115">
                  <c:v>17431</c:v>
                </c:pt>
                <c:pt idx="116">
                  <c:v>17510</c:v>
                </c:pt>
                <c:pt idx="117">
                  <c:v>17608</c:v>
                </c:pt>
                <c:pt idx="118">
                  <c:v>17774</c:v>
                </c:pt>
                <c:pt idx="119">
                  <c:v>17960</c:v>
                </c:pt>
                <c:pt idx="120">
                  <c:v>18109</c:v>
                </c:pt>
                <c:pt idx="121">
                  <c:v>18245</c:v>
                </c:pt>
                <c:pt idx="122">
                  <c:v>18312</c:v>
                </c:pt>
                <c:pt idx="123">
                  <c:v>18373</c:v>
                </c:pt>
                <c:pt idx="124">
                  <c:v>18416</c:v>
                </c:pt>
                <c:pt idx="125">
                  <c:v>18686</c:v>
                </c:pt>
                <c:pt idx="126">
                  <c:v>18842</c:v>
                </c:pt>
                <c:pt idx="127">
                  <c:v>19005</c:v>
                </c:pt>
                <c:pt idx="128">
                  <c:v>19239</c:v>
                </c:pt>
                <c:pt idx="129">
                  <c:v>19428</c:v>
                </c:pt>
                <c:pt idx="130">
                  <c:v>19494</c:v>
                </c:pt>
                <c:pt idx="131">
                  <c:v>19530</c:v>
                </c:pt>
                <c:pt idx="132">
                  <c:v>19773</c:v>
                </c:pt>
                <c:pt idx="133">
                  <c:v>19901</c:v>
                </c:pt>
                <c:pt idx="134">
                  <c:v>20076</c:v>
                </c:pt>
                <c:pt idx="135">
                  <c:v>20174</c:v>
                </c:pt>
                <c:pt idx="136">
                  <c:v>20263</c:v>
                </c:pt>
                <c:pt idx="137">
                  <c:v>20298</c:v>
                </c:pt>
                <c:pt idx="138">
                  <c:v>20345</c:v>
                </c:pt>
                <c:pt idx="139">
                  <c:v>20511</c:v>
                </c:pt>
                <c:pt idx="140">
                  <c:v>20595</c:v>
                </c:pt>
                <c:pt idx="141">
                  <c:v>20742</c:v>
                </c:pt>
                <c:pt idx="142">
                  <c:v>20850</c:v>
                </c:pt>
                <c:pt idx="143">
                  <c:v>20969</c:v>
                </c:pt>
                <c:pt idx="144">
                  <c:v>21022</c:v>
                </c:pt>
                <c:pt idx="145">
                  <c:v>21048</c:v>
                </c:pt>
                <c:pt idx="146">
                  <c:v>21135</c:v>
                </c:pt>
                <c:pt idx="147">
                  <c:v>21178</c:v>
                </c:pt>
                <c:pt idx="148">
                  <c:v>21274</c:v>
                </c:pt>
                <c:pt idx="149">
                  <c:v>21341</c:v>
                </c:pt>
                <c:pt idx="150">
                  <c:v>21378</c:v>
                </c:pt>
                <c:pt idx="151">
                  <c:v>21427</c:v>
                </c:pt>
                <c:pt idx="152">
                  <c:v>21437</c:v>
                </c:pt>
                <c:pt idx="153">
                  <c:v>21545</c:v>
                </c:pt>
                <c:pt idx="154">
                  <c:v>21642</c:v>
                </c:pt>
                <c:pt idx="155">
                  <c:v>21745</c:v>
                </c:pt>
                <c:pt idx="156">
                  <c:v>21830</c:v>
                </c:pt>
                <c:pt idx="157">
                  <c:v>21917</c:v>
                </c:pt>
                <c:pt idx="158">
                  <c:v>21961</c:v>
                </c:pt>
                <c:pt idx="159">
                  <c:v>21977</c:v>
                </c:pt>
                <c:pt idx="160">
                  <c:v>22043</c:v>
                </c:pt>
                <c:pt idx="161">
                  <c:v>22109</c:v>
                </c:pt>
                <c:pt idx="162">
                  <c:v>22177</c:v>
                </c:pt>
                <c:pt idx="163">
                  <c:v>22246</c:v>
                </c:pt>
                <c:pt idx="164">
                  <c:v>22298</c:v>
                </c:pt>
                <c:pt idx="165">
                  <c:v>22306</c:v>
                </c:pt>
                <c:pt idx="166">
                  <c:v>22320</c:v>
                </c:pt>
                <c:pt idx="167">
                  <c:v>22357</c:v>
                </c:pt>
                <c:pt idx="168">
                  <c:v>22376</c:v>
                </c:pt>
                <c:pt idx="169">
                  <c:v>22406</c:v>
                </c:pt>
                <c:pt idx="170">
                  <c:v>22436</c:v>
                </c:pt>
                <c:pt idx="171">
                  <c:v>22464</c:v>
                </c:pt>
                <c:pt idx="172">
                  <c:v>22483</c:v>
                </c:pt>
                <c:pt idx="173">
                  <c:v>22491</c:v>
                </c:pt>
                <c:pt idx="174">
                  <c:v>22583</c:v>
                </c:pt>
                <c:pt idx="175">
                  <c:v>22619</c:v>
                </c:pt>
                <c:pt idx="176">
                  <c:v>22653</c:v>
                </c:pt>
                <c:pt idx="177">
                  <c:v>22699</c:v>
                </c:pt>
                <c:pt idx="178">
                  <c:v>22747</c:v>
                </c:pt>
                <c:pt idx="179">
                  <c:v>22758</c:v>
                </c:pt>
                <c:pt idx="180">
                  <c:v>22761</c:v>
                </c:pt>
                <c:pt idx="181">
                  <c:v>22840</c:v>
                </c:pt>
                <c:pt idx="182">
                  <c:v>22868</c:v>
                </c:pt>
                <c:pt idx="183">
                  <c:v>22915</c:v>
                </c:pt>
                <c:pt idx="184">
                  <c:v>22926</c:v>
                </c:pt>
                <c:pt idx="185">
                  <c:v>22950</c:v>
                </c:pt>
                <c:pt idx="186">
                  <c:v>22955</c:v>
                </c:pt>
                <c:pt idx="187">
                  <c:v>22961</c:v>
                </c:pt>
                <c:pt idx="188">
                  <c:v>22988</c:v>
                </c:pt>
                <c:pt idx="189">
                  <c:v>23094</c:v>
                </c:pt>
                <c:pt idx="190">
                  <c:v>23154</c:v>
                </c:pt>
                <c:pt idx="191">
                  <c:v>23167</c:v>
                </c:pt>
                <c:pt idx="192">
                  <c:v>23201</c:v>
                </c:pt>
                <c:pt idx="193">
                  <c:v>23210</c:v>
                </c:pt>
                <c:pt idx="194">
                  <c:v>23217</c:v>
                </c:pt>
                <c:pt idx="195">
                  <c:v>23248</c:v>
                </c:pt>
                <c:pt idx="196">
                  <c:v>23269</c:v>
                </c:pt>
                <c:pt idx="197">
                  <c:v>23281</c:v>
                </c:pt>
                <c:pt idx="198">
                  <c:v>23318</c:v>
                </c:pt>
                <c:pt idx="199">
                  <c:v>23336</c:v>
                </c:pt>
                <c:pt idx="200">
                  <c:v>23346</c:v>
                </c:pt>
                <c:pt idx="201">
                  <c:v>23350</c:v>
                </c:pt>
                <c:pt idx="202">
                  <c:v>23363</c:v>
                </c:pt>
                <c:pt idx="203">
                  <c:v>23393</c:v>
                </c:pt>
                <c:pt idx="204">
                  <c:v>23414</c:v>
                </c:pt>
                <c:pt idx="205">
                  <c:v>23446</c:v>
                </c:pt>
                <c:pt idx="206">
                  <c:v>23452</c:v>
                </c:pt>
                <c:pt idx="207">
                  <c:v>23455</c:v>
                </c:pt>
                <c:pt idx="208">
                  <c:v>23459</c:v>
                </c:pt>
                <c:pt idx="209">
                  <c:v>23482</c:v>
                </c:pt>
                <c:pt idx="210">
                  <c:v>23495</c:v>
                </c:pt>
                <c:pt idx="211">
                  <c:v>23506</c:v>
                </c:pt>
                <c:pt idx="212">
                  <c:v>23517</c:v>
                </c:pt>
                <c:pt idx="213">
                  <c:v>23521</c:v>
                </c:pt>
                <c:pt idx="214">
                  <c:v>23525</c:v>
                </c:pt>
                <c:pt idx="215">
                  <c:v>23527</c:v>
                </c:pt>
                <c:pt idx="216">
                  <c:v>23528</c:v>
                </c:pt>
                <c:pt idx="217">
                  <c:v>23533</c:v>
                </c:pt>
                <c:pt idx="218">
                  <c:v>23552</c:v>
                </c:pt>
                <c:pt idx="219">
                  <c:v>23554</c:v>
                </c:pt>
                <c:pt idx="220">
                  <c:v>23557</c:v>
                </c:pt>
                <c:pt idx="221">
                  <c:v>23558</c:v>
                </c:pt>
                <c:pt idx="222">
                  <c:v>23558</c:v>
                </c:pt>
                <c:pt idx="223">
                  <c:v>23559</c:v>
                </c:pt>
                <c:pt idx="224">
                  <c:v>23562</c:v>
                </c:pt>
                <c:pt idx="225">
                  <c:v>23565</c:v>
                </c:pt>
                <c:pt idx="226">
                  <c:v>23569</c:v>
                </c:pt>
                <c:pt idx="227">
                  <c:v>23570</c:v>
                </c:pt>
                <c:pt idx="228">
                  <c:v>23571</c:v>
                </c:pt>
                <c:pt idx="229">
                  <c:v>23573</c:v>
                </c:pt>
                <c:pt idx="230">
                  <c:v>23578</c:v>
                </c:pt>
                <c:pt idx="231">
                  <c:v>23583</c:v>
                </c:pt>
                <c:pt idx="232">
                  <c:v>23586</c:v>
                </c:pt>
                <c:pt idx="233">
                  <c:v>23599</c:v>
                </c:pt>
                <c:pt idx="234">
                  <c:v>23606</c:v>
                </c:pt>
                <c:pt idx="235">
                  <c:v>23607</c:v>
                </c:pt>
                <c:pt idx="236">
                  <c:v>23607</c:v>
                </c:pt>
                <c:pt idx="237">
                  <c:v>23609</c:v>
                </c:pt>
                <c:pt idx="238">
                  <c:v>23613</c:v>
                </c:pt>
                <c:pt idx="239">
                  <c:v>23614</c:v>
                </c:pt>
                <c:pt idx="240">
                  <c:v>23616</c:v>
                </c:pt>
                <c:pt idx="241">
                  <c:v>23617</c:v>
                </c:pt>
                <c:pt idx="242">
                  <c:v>23617</c:v>
                </c:pt>
                <c:pt idx="243">
                  <c:v>23617</c:v>
                </c:pt>
                <c:pt idx="244">
                  <c:v>23619</c:v>
                </c:pt>
                <c:pt idx="245">
                  <c:v>23619</c:v>
                </c:pt>
                <c:pt idx="246">
                  <c:v>23622</c:v>
                </c:pt>
                <c:pt idx="247">
                  <c:v>23622</c:v>
                </c:pt>
                <c:pt idx="248">
                  <c:v>23623</c:v>
                </c:pt>
                <c:pt idx="249">
                  <c:v>23623</c:v>
                </c:pt>
                <c:pt idx="250">
                  <c:v>23626</c:v>
                </c:pt>
                <c:pt idx="251">
                  <c:v>23631</c:v>
                </c:pt>
                <c:pt idx="252">
                  <c:v>23633</c:v>
                </c:pt>
                <c:pt idx="253">
                  <c:v>23633</c:v>
                </c:pt>
                <c:pt idx="254">
                  <c:v>23636</c:v>
                </c:pt>
                <c:pt idx="255">
                  <c:v>23641</c:v>
                </c:pt>
                <c:pt idx="256">
                  <c:v>23642</c:v>
                </c:pt>
                <c:pt idx="257">
                  <c:v>23642</c:v>
                </c:pt>
                <c:pt idx="258">
                  <c:v>23645</c:v>
                </c:pt>
                <c:pt idx="259">
                  <c:v>23645</c:v>
                </c:pt>
                <c:pt idx="260">
                  <c:v>23647</c:v>
                </c:pt>
                <c:pt idx="261">
                  <c:v>23647</c:v>
                </c:pt>
                <c:pt idx="262">
                  <c:v>23647</c:v>
                </c:pt>
                <c:pt idx="263">
                  <c:v>23647</c:v>
                </c:pt>
                <c:pt idx="264">
                  <c:v>23647</c:v>
                </c:pt>
                <c:pt idx="265">
                  <c:v>23649</c:v>
                </c:pt>
                <c:pt idx="266">
                  <c:v>23649</c:v>
                </c:pt>
                <c:pt idx="267">
                  <c:v>23649</c:v>
                </c:pt>
                <c:pt idx="268">
                  <c:v>23649</c:v>
                </c:pt>
                <c:pt idx="269">
                  <c:v>23649</c:v>
                </c:pt>
                <c:pt idx="270">
                  <c:v>23649</c:v>
                </c:pt>
                <c:pt idx="271">
                  <c:v>23649</c:v>
                </c:pt>
                <c:pt idx="272">
                  <c:v>23650</c:v>
                </c:pt>
                <c:pt idx="273">
                  <c:v>23650</c:v>
                </c:pt>
                <c:pt idx="274">
                  <c:v>23653</c:v>
                </c:pt>
                <c:pt idx="275">
                  <c:v>23654</c:v>
                </c:pt>
                <c:pt idx="276">
                  <c:v>23654</c:v>
                </c:pt>
                <c:pt idx="277">
                  <c:v>23654</c:v>
                </c:pt>
                <c:pt idx="278">
                  <c:v>23654</c:v>
                </c:pt>
                <c:pt idx="279">
                  <c:v>23655</c:v>
                </c:pt>
                <c:pt idx="280">
                  <c:v>23655</c:v>
                </c:pt>
                <c:pt idx="281">
                  <c:v>23655</c:v>
                </c:pt>
                <c:pt idx="282">
                  <c:v>23655</c:v>
                </c:pt>
                <c:pt idx="283">
                  <c:v>23656</c:v>
                </c:pt>
                <c:pt idx="284">
                  <c:v>23656</c:v>
                </c:pt>
                <c:pt idx="285">
                  <c:v>23656</c:v>
                </c:pt>
                <c:pt idx="286">
                  <c:v>23656</c:v>
                </c:pt>
                <c:pt idx="287">
                  <c:v>23656</c:v>
                </c:pt>
                <c:pt idx="288">
                  <c:v>23656</c:v>
                </c:pt>
                <c:pt idx="289">
                  <c:v>23657</c:v>
                </c:pt>
                <c:pt idx="290">
                  <c:v>23657</c:v>
                </c:pt>
                <c:pt idx="291">
                  <c:v>23657</c:v>
                </c:pt>
                <c:pt idx="292">
                  <c:v>23657</c:v>
                </c:pt>
                <c:pt idx="293">
                  <c:v>23657</c:v>
                </c:pt>
                <c:pt idx="294">
                  <c:v>23657</c:v>
                </c:pt>
                <c:pt idx="295">
                  <c:v>23658</c:v>
                </c:pt>
                <c:pt idx="296">
                  <c:v>23659</c:v>
                </c:pt>
                <c:pt idx="297">
                  <c:v>23659</c:v>
                </c:pt>
                <c:pt idx="298">
                  <c:v>23659</c:v>
                </c:pt>
                <c:pt idx="299">
                  <c:v>23659</c:v>
                </c:pt>
                <c:pt idx="300">
                  <c:v>23659</c:v>
                </c:pt>
                <c:pt idx="301">
                  <c:v>23659</c:v>
                </c:pt>
                <c:pt idx="302">
                  <c:v>23659</c:v>
                </c:pt>
                <c:pt idx="303">
                  <c:v>23660</c:v>
                </c:pt>
                <c:pt idx="304">
                  <c:v>23660</c:v>
                </c:pt>
                <c:pt idx="305">
                  <c:v>23660</c:v>
                </c:pt>
                <c:pt idx="306">
                  <c:v>23661</c:v>
                </c:pt>
                <c:pt idx="307">
                  <c:v>23661</c:v>
                </c:pt>
                <c:pt idx="308">
                  <c:v>23661</c:v>
                </c:pt>
                <c:pt idx="309">
                  <c:v>23661</c:v>
                </c:pt>
                <c:pt idx="310">
                  <c:v>23662</c:v>
                </c:pt>
                <c:pt idx="311">
                  <c:v>23662</c:v>
                </c:pt>
                <c:pt idx="312">
                  <c:v>23662</c:v>
                </c:pt>
                <c:pt idx="313">
                  <c:v>23662</c:v>
                </c:pt>
                <c:pt idx="314">
                  <c:v>23662</c:v>
                </c:pt>
                <c:pt idx="315">
                  <c:v>23662</c:v>
                </c:pt>
                <c:pt idx="316">
                  <c:v>23662</c:v>
                </c:pt>
                <c:pt idx="317">
                  <c:v>23662</c:v>
                </c:pt>
                <c:pt idx="318">
                  <c:v>23662</c:v>
                </c:pt>
                <c:pt idx="319">
                  <c:v>23662</c:v>
                </c:pt>
                <c:pt idx="320">
                  <c:v>23662</c:v>
                </c:pt>
                <c:pt idx="321">
                  <c:v>23662</c:v>
                </c:pt>
                <c:pt idx="322">
                  <c:v>23662</c:v>
                </c:pt>
                <c:pt idx="323">
                  <c:v>23662</c:v>
                </c:pt>
                <c:pt idx="324">
                  <c:v>23662</c:v>
                </c:pt>
                <c:pt idx="325">
                  <c:v>23662</c:v>
                </c:pt>
                <c:pt idx="326">
                  <c:v>23663</c:v>
                </c:pt>
                <c:pt idx="327">
                  <c:v>23663</c:v>
                </c:pt>
                <c:pt idx="328">
                  <c:v>23663</c:v>
                </c:pt>
                <c:pt idx="329">
                  <c:v>23663</c:v>
                </c:pt>
                <c:pt idx="330">
                  <c:v>23663</c:v>
                </c:pt>
                <c:pt idx="331">
                  <c:v>23663</c:v>
                </c:pt>
                <c:pt idx="332">
                  <c:v>23664</c:v>
                </c:pt>
                <c:pt idx="333">
                  <c:v>23664</c:v>
                </c:pt>
                <c:pt idx="334">
                  <c:v>23664</c:v>
                </c:pt>
                <c:pt idx="335">
                  <c:v>23664</c:v>
                </c:pt>
                <c:pt idx="336">
                  <c:v>23664</c:v>
                </c:pt>
                <c:pt idx="337">
                  <c:v>23664</c:v>
                </c:pt>
                <c:pt idx="338">
                  <c:v>23664</c:v>
                </c:pt>
                <c:pt idx="339">
                  <c:v>23664</c:v>
                </c:pt>
                <c:pt idx="340">
                  <c:v>23664</c:v>
                </c:pt>
                <c:pt idx="341">
                  <c:v>23664</c:v>
                </c:pt>
                <c:pt idx="342">
                  <c:v>23664</c:v>
                </c:pt>
                <c:pt idx="343">
                  <c:v>23664</c:v>
                </c:pt>
                <c:pt idx="344">
                  <c:v>23664</c:v>
                </c:pt>
                <c:pt idx="345">
                  <c:v>23664</c:v>
                </c:pt>
                <c:pt idx="346">
                  <c:v>23664</c:v>
                </c:pt>
                <c:pt idx="347">
                  <c:v>23664</c:v>
                </c:pt>
                <c:pt idx="348">
                  <c:v>23664</c:v>
                </c:pt>
                <c:pt idx="349">
                  <c:v>23665</c:v>
                </c:pt>
                <c:pt idx="350">
                  <c:v>23666</c:v>
                </c:pt>
                <c:pt idx="351">
                  <c:v>23666</c:v>
                </c:pt>
                <c:pt idx="352">
                  <c:v>23667</c:v>
                </c:pt>
                <c:pt idx="353">
                  <c:v>23667</c:v>
                </c:pt>
                <c:pt idx="354">
                  <c:v>23667</c:v>
                </c:pt>
                <c:pt idx="355">
                  <c:v>23667</c:v>
                </c:pt>
                <c:pt idx="356">
                  <c:v>23669</c:v>
                </c:pt>
                <c:pt idx="357">
                  <c:v>23669</c:v>
                </c:pt>
                <c:pt idx="358">
                  <c:v>23669</c:v>
                </c:pt>
                <c:pt idx="359">
                  <c:v>23669</c:v>
                </c:pt>
                <c:pt idx="360">
                  <c:v>23669</c:v>
                </c:pt>
                <c:pt idx="361">
                  <c:v>23669</c:v>
                </c:pt>
                <c:pt idx="362">
                  <c:v>23669</c:v>
                </c:pt>
                <c:pt idx="363">
                  <c:v>23669</c:v>
                </c:pt>
                <c:pt idx="364">
                  <c:v>23669</c:v>
                </c:pt>
                <c:pt idx="365">
                  <c:v>23670</c:v>
                </c:pt>
                <c:pt idx="366">
                  <c:v>23674</c:v>
                </c:pt>
                <c:pt idx="367">
                  <c:v>23676</c:v>
                </c:pt>
                <c:pt idx="368">
                  <c:v>23677</c:v>
                </c:pt>
                <c:pt idx="369">
                  <c:v>23677</c:v>
                </c:pt>
                <c:pt idx="370">
                  <c:v>23681</c:v>
                </c:pt>
                <c:pt idx="371">
                  <c:v>23681</c:v>
                </c:pt>
                <c:pt idx="372">
                  <c:v>23681</c:v>
                </c:pt>
                <c:pt idx="373">
                  <c:v>23682</c:v>
                </c:pt>
                <c:pt idx="374">
                  <c:v>23682</c:v>
                </c:pt>
                <c:pt idx="375">
                  <c:v>23682</c:v>
                </c:pt>
                <c:pt idx="376">
                  <c:v>23682</c:v>
                </c:pt>
                <c:pt idx="377">
                  <c:v>23683</c:v>
                </c:pt>
                <c:pt idx="378">
                  <c:v>23683</c:v>
                </c:pt>
                <c:pt idx="379">
                  <c:v>23683</c:v>
                </c:pt>
                <c:pt idx="380">
                  <c:v>23683</c:v>
                </c:pt>
                <c:pt idx="381">
                  <c:v>23683</c:v>
                </c:pt>
                <c:pt idx="382">
                  <c:v>23683</c:v>
                </c:pt>
                <c:pt idx="383">
                  <c:v>23683</c:v>
                </c:pt>
                <c:pt idx="384">
                  <c:v>23684</c:v>
                </c:pt>
                <c:pt idx="385">
                  <c:v>23688</c:v>
                </c:pt>
                <c:pt idx="386">
                  <c:v>23689</c:v>
                </c:pt>
                <c:pt idx="387">
                  <c:v>23689</c:v>
                </c:pt>
                <c:pt idx="388">
                  <c:v>23689</c:v>
                </c:pt>
                <c:pt idx="389">
                  <c:v>23689</c:v>
                </c:pt>
                <c:pt idx="390">
                  <c:v>23689</c:v>
                </c:pt>
                <c:pt idx="391">
                  <c:v>23691</c:v>
                </c:pt>
                <c:pt idx="392">
                  <c:v>23691</c:v>
                </c:pt>
                <c:pt idx="393">
                  <c:v>23692</c:v>
                </c:pt>
                <c:pt idx="394">
                  <c:v>23692</c:v>
                </c:pt>
                <c:pt idx="395">
                  <c:v>23693</c:v>
                </c:pt>
                <c:pt idx="396">
                  <c:v>23694</c:v>
                </c:pt>
                <c:pt idx="397">
                  <c:v>23695</c:v>
                </c:pt>
                <c:pt idx="398">
                  <c:v>23697</c:v>
                </c:pt>
                <c:pt idx="399">
                  <c:v>23699</c:v>
                </c:pt>
                <c:pt idx="400">
                  <c:v>23710</c:v>
                </c:pt>
                <c:pt idx="401">
                  <c:v>23712</c:v>
                </c:pt>
                <c:pt idx="402">
                  <c:v>23737</c:v>
                </c:pt>
                <c:pt idx="403">
                  <c:v>23738</c:v>
                </c:pt>
                <c:pt idx="404">
                  <c:v>23738</c:v>
                </c:pt>
                <c:pt idx="405">
                  <c:v>23739</c:v>
                </c:pt>
                <c:pt idx="406">
                  <c:v>23740</c:v>
                </c:pt>
                <c:pt idx="407">
                  <c:v>23760</c:v>
                </c:pt>
                <c:pt idx="408">
                  <c:v>23763</c:v>
                </c:pt>
                <c:pt idx="409">
                  <c:v>23765</c:v>
                </c:pt>
                <c:pt idx="410">
                  <c:v>23765</c:v>
                </c:pt>
                <c:pt idx="411">
                  <c:v>23765</c:v>
                </c:pt>
                <c:pt idx="412">
                  <c:v>23771</c:v>
                </c:pt>
                <c:pt idx="413">
                  <c:v>23776</c:v>
                </c:pt>
                <c:pt idx="414">
                  <c:v>23780</c:v>
                </c:pt>
                <c:pt idx="415">
                  <c:v>23782</c:v>
                </c:pt>
                <c:pt idx="416">
                  <c:v>23787</c:v>
                </c:pt>
                <c:pt idx="417">
                  <c:v>23788</c:v>
                </c:pt>
                <c:pt idx="418">
                  <c:v>23789</c:v>
                </c:pt>
                <c:pt idx="419">
                  <c:v>23803</c:v>
                </c:pt>
                <c:pt idx="420">
                  <c:v>23812</c:v>
                </c:pt>
                <c:pt idx="421">
                  <c:v>23823</c:v>
                </c:pt>
                <c:pt idx="422">
                  <c:v>23823</c:v>
                </c:pt>
                <c:pt idx="423">
                  <c:v>23841</c:v>
                </c:pt>
                <c:pt idx="424">
                  <c:v>23848</c:v>
                </c:pt>
                <c:pt idx="425">
                  <c:v>23859</c:v>
                </c:pt>
                <c:pt idx="426">
                  <c:v>23894</c:v>
                </c:pt>
                <c:pt idx="427">
                  <c:v>23909</c:v>
                </c:pt>
                <c:pt idx="428">
                  <c:v>23925</c:v>
                </c:pt>
                <c:pt idx="429">
                  <c:v>23978</c:v>
                </c:pt>
                <c:pt idx="430">
                  <c:v>24001</c:v>
                </c:pt>
                <c:pt idx="431">
                  <c:v>24007</c:v>
                </c:pt>
                <c:pt idx="432">
                  <c:v>24012</c:v>
                </c:pt>
                <c:pt idx="433">
                  <c:v>24042</c:v>
                </c:pt>
                <c:pt idx="434">
                  <c:v>24072</c:v>
                </c:pt>
                <c:pt idx="435">
                  <c:v>24088</c:v>
                </c:pt>
                <c:pt idx="436">
                  <c:v>24107</c:v>
                </c:pt>
                <c:pt idx="437">
                  <c:v>24124</c:v>
                </c:pt>
                <c:pt idx="438">
                  <c:v>24137</c:v>
                </c:pt>
                <c:pt idx="439">
                  <c:v>24152</c:v>
                </c:pt>
                <c:pt idx="440">
                  <c:v>24195</c:v>
                </c:pt>
                <c:pt idx="441">
                  <c:v>24227</c:v>
                </c:pt>
                <c:pt idx="442">
                  <c:v>24252</c:v>
                </c:pt>
                <c:pt idx="443">
                  <c:v>24308</c:v>
                </c:pt>
                <c:pt idx="444">
                  <c:v>24393</c:v>
                </c:pt>
                <c:pt idx="445">
                  <c:v>24419</c:v>
                </c:pt>
                <c:pt idx="446">
                  <c:v>24428</c:v>
                </c:pt>
                <c:pt idx="447">
                  <c:v>24478</c:v>
                </c:pt>
                <c:pt idx="448">
                  <c:v>24501</c:v>
                </c:pt>
                <c:pt idx="449">
                  <c:v>24543</c:v>
                </c:pt>
                <c:pt idx="450">
                  <c:v>24572</c:v>
                </c:pt>
                <c:pt idx="451">
                  <c:v>24625</c:v>
                </c:pt>
                <c:pt idx="452">
                  <c:v>24630</c:v>
                </c:pt>
                <c:pt idx="453">
                  <c:v>24637</c:v>
                </c:pt>
                <c:pt idx="454">
                  <c:v>24681</c:v>
                </c:pt>
                <c:pt idx="455">
                  <c:v>24695</c:v>
                </c:pt>
                <c:pt idx="456">
                  <c:v>24725</c:v>
                </c:pt>
                <c:pt idx="457">
                  <c:v>24756</c:v>
                </c:pt>
                <c:pt idx="458">
                  <c:v>24769</c:v>
                </c:pt>
                <c:pt idx="459">
                  <c:v>24808</c:v>
                </c:pt>
                <c:pt idx="460">
                  <c:v>24815</c:v>
                </c:pt>
                <c:pt idx="461">
                  <c:v>24846</c:v>
                </c:pt>
                <c:pt idx="462">
                  <c:v>24868</c:v>
                </c:pt>
                <c:pt idx="463">
                  <c:v>24886</c:v>
                </c:pt>
                <c:pt idx="464">
                  <c:v>24917</c:v>
                </c:pt>
                <c:pt idx="465">
                  <c:v>24947</c:v>
                </c:pt>
                <c:pt idx="466">
                  <c:v>24953</c:v>
                </c:pt>
                <c:pt idx="467">
                  <c:v>24953</c:v>
                </c:pt>
                <c:pt idx="468">
                  <c:v>24969</c:v>
                </c:pt>
                <c:pt idx="469">
                  <c:v>24996</c:v>
                </c:pt>
                <c:pt idx="470">
                  <c:v>25012</c:v>
                </c:pt>
                <c:pt idx="471">
                  <c:v>25019</c:v>
                </c:pt>
                <c:pt idx="472">
                  <c:v>25031</c:v>
                </c:pt>
                <c:pt idx="473">
                  <c:v>25033</c:v>
                </c:pt>
                <c:pt idx="474">
                  <c:v>25036</c:v>
                </c:pt>
                <c:pt idx="475">
                  <c:v>25052</c:v>
                </c:pt>
                <c:pt idx="476">
                  <c:v>25060</c:v>
                </c:pt>
                <c:pt idx="477">
                  <c:v>25063</c:v>
                </c:pt>
                <c:pt idx="478">
                  <c:v>25068</c:v>
                </c:pt>
                <c:pt idx="479">
                  <c:v>25069</c:v>
                </c:pt>
                <c:pt idx="480">
                  <c:v>25074</c:v>
                </c:pt>
                <c:pt idx="481">
                  <c:v>25074</c:v>
                </c:pt>
                <c:pt idx="482">
                  <c:v>25084</c:v>
                </c:pt>
                <c:pt idx="483">
                  <c:v>25091</c:v>
                </c:pt>
                <c:pt idx="484">
                  <c:v>25097</c:v>
                </c:pt>
                <c:pt idx="485">
                  <c:v>25099</c:v>
                </c:pt>
                <c:pt idx="486">
                  <c:v>25109</c:v>
                </c:pt>
                <c:pt idx="487">
                  <c:v>25111</c:v>
                </c:pt>
                <c:pt idx="488">
                  <c:v>25111</c:v>
                </c:pt>
                <c:pt idx="489">
                  <c:v>25115</c:v>
                </c:pt>
                <c:pt idx="490">
                  <c:v>25120</c:v>
                </c:pt>
                <c:pt idx="491">
                  <c:v>25127</c:v>
                </c:pt>
                <c:pt idx="492">
                  <c:v>25134</c:v>
                </c:pt>
                <c:pt idx="493">
                  <c:v>25140</c:v>
                </c:pt>
                <c:pt idx="494">
                  <c:v>25141</c:v>
                </c:pt>
                <c:pt idx="495">
                  <c:v>25143</c:v>
                </c:pt>
                <c:pt idx="496">
                  <c:v>25144</c:v>
                </c:pt>
                <c:pt idx="497">
                  <c:v>25152</c:v>
                </c:pt>
                <c:pt idx="498">
                  <c:v>25156</c:v>
                </c:pt>
                <c:pt idx="499">
                  <c:v>25159</c:v>
                </c:pt>
                <c:pt idx="500">
                  <c:v>25167</c:v>
                </c:pt>
                <c:pt idx="501">
                  <c:v>25168</c:v>
                </c:pt>
                <c:pt idx="502">
                  <c:v>25172</c:v>
                </c:pt>
                <c:pt idx="503">
                  <c:v>25193</c:v>
                </c:pt>
                <c:pt idx="504">
                  <c:v>25205</c:v>
                </c:pt>
                <c:pt idx="505">
                  <c:v>25216</c:v>
                </c:pt>
                <c:pt idx="506">
                  <c:v>25237</c:v>
                </c:pt>
                <c:pt idx="507">
                  <c:v>25252</c:v>
                </c:pt>
                <c:pt idx="508">
                  <c:v>25284</c:v>
                </c:pt>
                <c:pt idx="509">
                  <c:v>25290</c:v>
                </c:pt>
                <c:pt idx="510">
                  <c:v>25334</c:v>
                </c:pt>
                <c:pt idx="511">
                  <c:v>25375</c:v>
                </c:pt>
                <c:pt idx="512">
                  <c:v>25414</c:v>
                </c:pt>
                <c:pt idx="513">
                  <c:v>25439</c:v>
                </c:pt>
                <c:pt idx="514">
                  <c:v>25487</c:v>
                </c:pt>
                <c:pt idx="515">
                  <c:v>25491</c:v>
                </c:pt>
                <c:pt idx="516">
                  <c:v>25497</c:v>
                </c:pt>
                <c:pt idx="517">
                  <c:v>25539</c:v>
                </c:pt>
                <c:pt idx="518">
                  <c:v>25591</c:v>
                </c:pt>
                <c:pt idx="519">
                  <c:v>25624</c:v>
                </c:pt>
                <c:pt idx="520">
                  <c:v>25645</c:v>
                </c:pt>
                <c:pt idx="521">
                  <c:v>25702</c:v>
                </c:pt>
                <c:pt idx="522">
                  <c:v>25722</c:v>
                </c:pt>
                <c:pt idx="523">
                  <c:v>25736</c:v>
                </c:pt>
                <c:pt idx="524">
                  <c:v>25824</c:v>
                </c:pt>
                <c:pt idx="525">
                  <c:v>25874</c:v>
                </c:pt>
                <c:pt idx="526">
                  <c:v>25903</c:v>
                </c:pt>
                <c:pt idx="527">
                  <c:v>25943</c:v>
                </c:pt>
                <c:pt idx="528">
                  <c:v>26008</c:v>
                </c:pt>
                <c:pt idx="529">
                  <c:v>26028</c:v>
                </c:pt>
                <c:pt idx="530">
                  <c:v>26044</c:v>
                </c:pt>
                <c:pt idx="531">
                  <c:v>26103</c:v>
                </c:pt>
                <c:pt idx="532">
                  <c:v>26154</c:v>
                </c:pt>
                <c:pt idx="533">
                  <c:v>26204</c:v>
                </c:pt>
                <c:pt idx="534">
                  <c:v>26286</c:v>
                </c:pt>
                <c:pt idx="535">
                  <c:v>26318</c:v>
                </c:pt>
                <c:pt idx="536">
                  <c:v>26328</c:v>
                </c:pt>
                <c:pt idx="537">
                  <c:v>26337</c:v>
                </c:pt>
                <c:pt idx="538">
                  <c:v>26373</c:v>
                </c:pt>
                <c:pt idx="539">
                  <c:v>26424</c:v>
                </c:pt>
                <c:pt idx="540">
                  <c:v>26471</c:v>
                </c:pt>
                <c:pt idx="541">
                  <c:v>26513</c:v>
                </c:pt>
                <c:pt idx="542">
                  <c:v>26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C$2:$C$544</c:f>
              <c:numCache>
                <c:formatCode>General</c:formatCode>
                <c:ptCount val="543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6</c:v>
                </c:pt>
                <c:pt idx="14">
                  <c:v>17</c:v>
                </c:pt>
                <c:pt idx="15">
                  <c:v>19</c:v>
                </c:pt>
                <c:pt idx="16">
                  <c:v>21</c:v>
                </c:pt>
                <c:pt idx="17">
                  <c:v>23</c:v>
                </c:pt>
                <c:pt idx="18">
                  <c:v>25</c:v>
                </c:pt>
                <c:pt idx="19">
                  <c:v>29</c:v>
                </c:pt>
                <c:pt idx="20">
                  <c:v>34</c:v>
                </c:pt>
                <c:pt idx="21">
                  <c:v>40</c:v>
                </c:pt>
                <c:pt idx="22">
                  <c:v>41</c:v>
                </c:pt>
                <c:pt idx="23">
                  <c:v>45</c:v>
                </c:pt>
                <c:pt idx="24">
                  <c:v>57</c:v>
                </c:pt>
                <c:pt idx="25">
                  <c:v>64</c:v>
                </c:pt>
                <c:pt idx="26">
                  <c:v>66</c:v>
                </c:pt>
                <c:pt idx="27">
                  <c:v>72</c:v>
                </c:pt>
                <c:pt idx="28">
                  <c:v>98</c:v>
                </c:pt>
                <c:pt idx="29">
                  <c:v>108</c:v>
                </c:pt>
                <c:pt idx="30">
                  <c:v>138</c:v>
                </c:pt>
                <c:pt idx="31">
                  <c:v>235</c:v>
                </c:pt>
                <c:pt idx="32">
                  <c:v>266</c:v>
                </c:pt>
                <c:pt idx="33">
                  <c:v>297</c:v>
                </c:pt>
                <c:pt idx="34">
                  <c:v>396</c:v>
                </c:pt>
                <c:pt idx="35">
                  <c:v>447</c:v>
                </c:pt>
                <c:pt idx="36">
                  <c:v>490</c:v>
                </c:pt>
                <c:pt idx="37">
                  <c:v>576</c:v>
                </c:pt>
                <c:pt idx="38">
                  <c:v>669</c:v>
                </c:pt>
                <c:pt idx="39">
                  <c:v>720</c:v>
                </c:pt>
                <c:pt idx="40">
                  <c:v>746</c:v>
                </c:pt>
                <c:pt idx="41">
                  <c:v>922</c:v>
                </c:pt>
                <c:pt idx="42">
                  <c:v>1085</c:v>
                </c:pt>
                <c:pt idx="43">
                  <c:v>1284</c:v>
                </c:pt>
                <c:pt idx="44">
                  <c:v>1494</c:v>
                </c:pt>
                <c:pt idx="45">
                  <c:v>1710</c:v>
                </c:pt>
                <c:pt idx="46">
                  <c:v>1817</c:v>
                </c:pt>
                <c:pt idx="47">
                  <c:v>1867</c:v>
                </c:pt>
                <c:pt idx="48">
                  <c:v>2068</c:v>
                </c:pt>
                <c:pt idx="49">
                  <c:v>2270</c:v>
                </c:pt>
                <c:pt idx="50">
                  <c:v>2542</c:v>
                </c:pt>
                <c:pt idx="51">
                  <c:v>2783</c:v>
                </c:pt>
                <c:pt idx="52">
                  <c:v>3125</c:v>
                </c:pt>
                <c:pt idx="53">
                  <c:v>3315</c:v>
                </c:pt>
                <c:pt idx="54">
                  <c:v>3405</c:v>
                </c:pt>
                <c:pt idx="55">
                  <c:v>3790</c:v>
                </c:pt>
                <c:pt idx="56">
                  <c:v>4210</c:v>
                </c:pt>
                <c:pt idx="57">
                  <c:v>4347</c:v>
                </c:pt>
                <c:pt idx="58">
                  <c:v>4832</c:v>
                </c:pt>
                <c:pt idx="59">
                  <c:v>5177</c:v>
                </c:pt>
                <c:pt idx="60">
                  <c:v>5364</c:v>
                </c:pt>
                <c:pt idx="61">
                  <c:v>5484</c:v>
                </c:pt>
                <c:pt idx="62">
                  <c:v>5800</c:v>
                </c:pt>
                <c:pt idx="63">
                  <c:v>6043</c:v>
                </c:pt>
                <c:pt idx="64">
                  <c:v>6389</c:v>
                </c:pt>
                <c:pt idx="65">
                  <c:v>6683</c:v>
                </c:pt>
                <c:pt idx="66">
                  <c:v>6929</c:v>
                </c:pt>
                <c:pt idx="67">
                  <c:v>7050</c:v>
                </c:pt>
                <c:pt idx="68">
                  <c:v>7101</c:v>
                </c:pt>
                <c:pt idx="69">
                  <c:v>7309</c:v>
                </c:pt>
                <c:pt idx="70">
                  <c:v>7521</c:v>
                </c:pt>
                <c:pt idx="71">
                  <c:v>7794</c:v>
                </c:pt>
                <c:pt idx="72">
                  <c:v>8041</c:v>
                </c:pt>
                <c:pt idx="73">
                  <c:v>8251</c:v>
                </c:pt>
                <c:pt idx="74">
                  <c:v>8327</c:v>
                </c:pt>
                <c:pt idx="75">
                  <c:v>8359</c:v>
                </c:pt>
                <c:pt idx="76">
                  <c:v>8557</c:v>
                </c:pt>
                <c:pt idx="77">
                  <c:v>8609</c:v>
                </c:pt>
                <c:pt idx="78">
                  <c:v>8778</c:v>
                </c:pt>
                <c:pt idx="79">
                  <c:v>8915</c:v>
                </c:pt>
                <c:pt idx="80">
                  <c:v>9042</c:v>
                </c:pt>
                <c:pt idx="81">
                  <c:v>9083</c:v>
                </c:pt>
                <c:pt idx="82">
                  <c:v>9102</c:v>
                </c:pt>
                <c:pt idx="83">
                  <c:v>9252</c:v>
                </c:pt>
                <c:pt idx="84">
                  <c:v>9363</c:v>
                </c:pt>
                <c:pt idx="85">
                  <c:v>9459</c:v>
                </c:pt>
                <c:pt idx="86">
                  <c:v>9517</c:v>
                </c:pt>
                <c:pt idx="87">
                  <c:v>9601</c:v>
                </c:pt>
                <c:pt idx="88">
                  <c:v>9624</c:v>
                </c:pt>
                <c:pt idx="89">
                  <c:v>9640</c:v>
                </c:pt>
                <c:pt idx="90">
                  <c:v>9753</c:v>
                </c:pt>
                <c:pt idx="91">
                  <c:v>9844</c:v>
                </c:pt>
                <c:pt idx="92">
                  <c:v>9918</c:v>
                </c:pt>
                <c:pt idx="93">
                  <c:v>9981</c:v>
                </c:pt>
                <c:pt idx="94">
                  <c:v>10074</c:v>
                </c:pt>
                <c:pt idx="95">
                  <c:v>10116</c:v>
                </c:pt>
                <c:pt idx="96">
                  <c:v>10143</c:v>
                </c:pt>
                <c:pt idx="97">
                  <c:v>10264</c:v>
                </c:pt>
                <c:pt idx="98">
                  <c:v>10343</c:v>
                </c:pt>
                <c:pt idx="99">
                  <c:v>10409</c:v>
                </c:pt>
                <c:pt idx="100">
                  <c:v>10471</c:v>
                </c:pt>
                <c:pt idx="101">
                  <c:v>10551</c:v>
                </c:pt>
                <c:pt idx="102">
                  <c:v>10572</c:v>
                </c:pt>
                <c:pt idx="103">
                  <c:v>10590</c:v>
                </c:pt>
                <c:pt idx="104">
                  <c:v>10731</c:v>
                </c:pt>
                <c:pt idx="105">
                  <c:v>10804</c:v>
                </c:pt>
                <c:pt idx="106">
                  <c:v>10902</c:v>
                </c:pt>
                <c:pt idx="107">
                  <c:v>10956</c:v>
                </c:pt>
                <c:pt idx="108">
                  <c:v>11045</c:v>
                </c:pt>
                <c:pt idx="109">
                  <c:v>11077</c:v>
                </c:pt>
                <c:pt idx="110">
                  <c:v>11106</c:v>
                </c:pt>
                <c:pt idx="111">
                  <c:v>11273</c:v>
                </c:pt>
                <c:pt idx="112">
                  <c:v>11390</c:v>
                </c:pt>
                <c:pt idx="113">
                  <c:v>11516</c:v>
                </c:pt>
                <c:pt idx="114">
                  <c:v>11548</c:v>
                </c:pt>
                <c:pt idx="115">
                  <c:v>11599</c:v>
                </c:pt>
                <c:pt idx="116">
                  <c:v>11652</c:v>
                </c:pt>
                <c:pt idx="117">
                  <c:v>11701</c:v>
                </c:pt>
                <c:pt idx="118">
                  <c:v>11898</c:v>
                </c:pt>
                <c:pt idx="119">
                  <c:v>12046</c:v>
                </c:pt>
                <c:pt idx="120">
                  <c:v>12160</c:v>
                </c:pt>
                <c:pt idx="121">
                  <c:v>12253</c:v>
                </c:pt>
                <c:pt idx="122">
                  <c:v>12287</c:v>
                </c:pt>
                <c:pt idx="123">
                  <c:v>12353</c:v>
                </c:pt>
                <c:pt idx="124">
                  <c:v>12393</c:v>
                </c:pt>
                <c:pt idx="125">
                  <c:v>12691</c:v>
                </c:pt>
                <c:pt idx="126">
                  <c:v>12842</c:v>
                </c:pt>
                <c:pt idx="127">
                  <c:v>12963</c:v>
                </c:pt>
                <c:pt idx="128">
                  <c:v>13072</c:v>
                </c:pt>
                <c:pt idx="129">
                  <c:v>13206</c:v>
                </c:pt>
                <c:pt idx="130">
                  <c:v>13263</c:v>
                </c:pt>
                <c:pt idx="131">
                  <c:v>13290</c:v>
                </c:pt>
                <c:pt idx="132">
                  <c:v>13538</c:v>
                </c:pt>
                <c:pt idx="133">
                  <c:v>13638</c:v>
                </c:pt>
                <c:pt idx="134">
                  <c:v>13750</c:v>
                </c:pt>
                <c:pt idx="135">
                  <c:v>13808</c:v>
                </c:pt>
                <c:pt idx="136">
                  <c:v>13879</c:v>
                </c:pt>
                <c:pt idx="137">
                  <c:v>13915</c:v>
                </c:pt>
                <c:pt idx="138">
                  <c:v>13944</c:v>
                </c:pt>
                <c:pt idx="139">
                  <c:v>14076</c:v>
                </c:pt>
                <c:pt idx="140">
                  <c:v>14153</c:v>
                </c:pt>
                <c:pt idx="141">
                  <c:v>14226</c:v>
                </c:pt>
                <c:pt idx="142">
                  <c:v>14295</c:v>
                </c:pt>
                <c:pt idx="143">
                  <c:v>14378</c:v>
                </c:pt>
                <c:pt idx="144">
                  <c:v>14406</c:v>
                </c:pt>
                <c:pt idx="145">
                  <c:v>14420</c:v>
                </c:pt>
                <c:pt idx="146">
                  <c:v>14512</c:v>
                </c:pt>
                <c:pt idx="147">
                  <c:v>14591</c:v>
                </c:pt>
                <c:pt idx="148">
                  <c:v>14651</c:v>
                </c:pt>
                <c:pt idx="149">
                  <c:v>14687</c:v>
                </c:pt>
                <c:pt idx="150">
                  <c:v>14736</c:v>
                </c:pt>
                <c:pt idx="151">
                  <c:v>14767</c:v>
                </c:pt>
                <c:pt idx="152">
                  <c:v>14781</c:v>
                </c:pt>
                <c:pt idx="153">
                  <c:v>14864</c:v>
                </c:pt>
                <c:pt idx="154">
                  <c:v>14940</c:v>
                </c:pt>
                <c:pt idx="155">
                  <c:v>15000</c:v>
                </c:pt>
                <c:pt idx="156">
                  <c:v>15047</c:v>
                </c:pt>
                <c:pt idx="157">
                  <c:v>15099</c:v>
                </c:pt>
                <c:pt idx="158">
                  <c:v>15112</c:v>
                </c:pt>
                <c:pt idx="159">
                  <c:v>15130</c:v>
                </c:pt>
                <c:pt idx="160">
                  <c:v>15206</c:v>
                </c:pt>
                <c:pt idx="161">
                  <c:v>15228</c:v>
                </c:pt>
                <c:pt idx="162">
                  <c:v>15262</c:v>
                </c:pt>
                <c:pt idx="163">
                  <c:v>15304</c:v>
                </c:pt>
                <c:pt idx="164">
                  <c:v>15344</c:v>
                </c:pt>
                <c:pt idx="165">
                  <c:v>15359</c:v>
                </c:pt>
                <c:pt idx="166">
                  <c:v>15375</c:v>
                </c:pt>
                <c:pt idx="167">
                  <c:v>15440</c:v>
                </c:pt>
                <c:pt idx="168">
                  <c:v>15474</c:v>
                </c:pt>
                <c:pt idx="169">
                  <c:v>15510</c:v>
                </c:pt>
                <c:pt idx="170">
                  <c:v>15545</c:v>
                </c:pt>
                <c:pt idx="171">
                  <c:v>15585</c:v>
                </c:pt>
                <c:pt idx="172">
                  <c:v>15593</c:v>
                </c:pt>
                <c:pt idx="173">
                  <c:v>15616</c:v>
                </c:pt>
                <c:pt idx="174">
                  <c:v>15696</c:v>
                </c:pt>
                <c:pt idx="175">
                  <c:v>15744</c:v>
                </c:pt>
                <c:pt idx="176">
                  <c:v>15781</c:v>
                </c:pt>
                <c:pt idx="177">
                  <c:v>15816</c:v>
                </c:pt>
                <c:pt idx="178">
                  <c:v>15862</c:v>
                </c:pt>
                <c:pt idx="179">
                  <c:v>15874</c:v>
                </c:pt>
                <c:pt idx="180">
                  <c:v>15884</c:v>
                </c:pt>
                <c:pt idx="181">
                  <c:v>15950</c:v>
                </c:pt>
                <c:pt idx="182">
                  <c:v>15993</c:v>
                </c:pt>
                <c:pt idx="183">
                  <c:v>16050</c:v>
                </c:pt>
                <c:pt idx="184">
                  <c:v>16098</c:v>
                </c:pt>
                <c:pt idx="185">
                  <c:v>16134</c:v>
                </c:pt>
                <c:pt idx="186">
                  <c:v>16149</c:v>
                </c:pt>
                <c:pt idx="187">
                  <c:v>16163</c:v>
                </c:pt>
                <c:pt idx="188">
                  <c:v>16228</c:v>
                </c:pt>
                <c:pt idx="189">
                  <c:v>16266</c:v>
                </c:pt>
                <c:pt idx="190">
                  <c:v>16296</c:v>
                </c:pt>
                <c:pt idx="191">
                  <c:v>16326</c:v>
                </c:pt>
                <c:pt idx="192">
                  <c:v>16346</c:v>
                </c:pt>
                <c:pt idx="193">
                  <c:v>16358</c:v>
                </c:pt>
                <c:pt idx="194">
                  <c:v>16365</c:v>
                </c:pt>
                <c:pt idx="195">
                  <c:v>16406</c:v>
                </c:pt>
                <c:pt idx="196">
                  <c:v>16432</c:v>
                </c:pt>
                <c:pt idx="197">
                  <c:v>16459</c:v>
                </c:pt>
                <c:pt idx="198">
                  <c:v>16475</c:v>
                </c:pt>
                <c:pt idx="199">
                  <c:v>16498</c:v>
                </c:pt>
                <c:pt idx="200">
                  <c:v>16500</c:v>
                </c:pt>
                <c:pt idx="201">
                  <c:v>16505</c:v>
                </c:pt>
                <c:pt idx="202">
                  <c:v>16542</c:v>
                </c:pt>
                <c:pt idx="203">
                  <c:v>16561</c:v>
                </c:pt>
                <c:pt idx="204">
                  <c:v>16572</c:v>
                </c:pt>
                <c:pt idx="205">
                  <c:v>16582</c:v>
                </c:pt>
                <c:pt idx="206">
                  <c:v>16600</c:v>
                </c:pt>
                <c:pt idx="207">
                  <c:v>16603</c:v>
                </c:pt>
                <c:pt idx="208">
                  <c:v>16604</c:v>
                </c:pt>
                <c:pt idx="209">
                  <c:v>16628</c:v>
                </c:pt>
                <c:pt idx="210">
                  <c:v>16648</c:v>
                </c:pt>
                <c:pt idx="211">
                  <c:v>16662</c:v>
                </c:pt>
                <c:pt idx="212">
                  <c:v>16675</c:v>
                </c:pt>
                <c:pt idx="213">
                  <c:v>16680</c:v>
                </c:pt>
                <c:pt idx="214">
                  <c:v>16684</c:v>
                </c:pt>
                <c:pt idx="215">
                  <c:v>16686</c:v>
                </c:pt>
                <c:pt idx="216">
                  <c:v>16694</c:v>
                </c:pt>
                <c:pt idx="217">
                  <c:v>16716</c:v>
                </c:pt>
                <c:pt idx="218">
                  <c:v>16734</c:v>
                </c:pt>
                <c:pt idx="219">
                  <c:v>16751</c:v>
                </c:pt>
                <c:pt idx="220">
                  <c:v>16759</c:v>
                </c:pt>
                <c:pt idx="221">
                  <c:v>16765</c:v>
                </c:pt>
                <c:pt idx="222">
                  <c:v>16766</c:v>
                </c:pt>
                <c:pt idx="223">
                  <c:v>16775</c:v>
                </c:pt>
                <c:pt idx="224">
                  <c:v>16783</c:v>
                </c:pt>
                <c:pt idx="225">
                  <c:v>16788</c:v>
                </c:pt>
                <c:pt idx="226">
                  <c:v>16794</c:v>
                </c:pt>
                <c:pt idx="227">
                  <c:v>16801</c:v>
                </c:pt>
                <c:pt idx="228">
                  <c:v>16802</c:v>
                </c:pt>
                <c:pt idx="229">
                  <c:v>16803</c:v>
                </c:pt>
                <c:pt idx="230">
                  <c:v>16816</c:v>
                </c:pt>
                <c:pt idx="231">
                  <c:v>16823</c:v>
                </c:pt>
                <c:pt idx="232">
                  <c:v>16829</c:v>
                </c:pt>
                <c:pt idx="233">
                  <c:v>16833</c:v>
                </c:pt>
                <c:pt idx="234">
                  <c:v>16836</c:v>
                </c:pt>
                <c:pt idx="235">
                  <c:v>16837</c:v>
                </c:pt>
                <c:pt idx="236">
                  <c:v>16837</c:v>
                </c:pt>
                <c:pt idx="237">
                  <c:v>16845</c:v>
                </c:pt>
                <c:pt idx="238">
                  <c:v>16854</c:v>
                </c:pt>
                <c:pt idx="239">
                  <c:v>16858</c:v>
                </c:pt>
                <c:pt idx="240">
                  <c:v>16861</c:v>
                </c:pt>
                <c:pt idx="241">
                  <c:v>16867</c:v>
                </c:pt>
                <c:pt idx="242">
                  <c:v>16867</c:v>
                </c:pt>
                <c:pt idx="243">
                  <c:v>16868</c:v>
                </c:pt>
                <c:pt idx="244">
                  <c:v>16872</c:v>
                </c:pt>
                <c:pt idx="245">
                  <c:v>16874</c:v>
                </c:pt>
                <c:pt idx="246">
                  <c:v>16875</c:v>
                </c:pt>
                <c:pt idx="247">
                  <c:v>16880</c:v>
                </c:pt>
                <c:pt idx="248">
                  <c:v>16882</c:v>
                </c:pt>
                <c:pt idx="249">
                  <c:v>16883</c:v>
                </c:pt>
                <c:pt idx="250">
                  <c:v>16883</c:v>
                </c:pt>
                <c:pt idx="251">
                  <c:v>16886</c:v>
                </c:pt>
                <c:pt idx="252">
                  <c:v>16890</c:v>
                </c:pt>
                <c:pt idx="253">
                  <c:v>16890</c:v>
                </c:pt>
                <c:pt idx="254">
                  <c:v>16892</c:v>
                </c:pt>
                <c:pt idx="255">
                  <c:v>16893</c:v>
                </c:pt>
                <c:pt idx="256">
                  <c:v>16893</c:v>
                </c:pt>
                <c:pt idx="257">
                  <c:v>16893</c:v>
                </c:pt>
                <c:pt idx="258">
                  <c:v>16898</c:v>
                </c:pt>
                <c:pt idx="259">
                  <c:v>16903</c:v>
                </c:pt>
                <c:pt idx="260">
                  <c:v>16905</c:v>
                </c:pt>
                <c:pt idx="261">
                  <c:v>16908</c:v>
                </c:pt>
                <c:pt idx="262">
                  <c:v>16909</c:v>
                </c:pt>
                <c:pt idx="263">
                  <c:v>16909</c:v>
                </c:pt>
                <c:pt idx="264">
                  <c:v>16909</c:v>
                </c:pt>
                <c:pt idx="265">
                  <c:v>16911</c:v>
                </c:pt>
                <c:pt idx="266">
                  <c:v>16912</c:v>
                </c:pt>
                <c:pt idx="267">
                  <c:v>16913</c:v>
                </c:pt>
                <c:pt idx="268">
                  <c:v>16915</c:v>
                </c:pt>
                <c:pt idx="269">
                  <c:v>16915</c:v>
                </c:pt>
                <c:pt idx="270">
                  <c:v>16915</c:v>
                </c:pt>
                <c:pt idx="271">
                  <c:v>16915</c:v>
                </c:pt>
                <c:pt idx="272">
                  <c:v>16915</c:v>
                </c:pt>
                <c:pt idx="273">
                  <c:v>16915</c:v>
                </c:pt>
                <c:pt idx="274">
                  <c:v>16915</c:v>
                </c:pt>
                <c:pt idx="275">
                  <c:v>16917</c:v>
                </c:pt>
                <c:pt idx="276">
                  <c:v>16917</c:v>
                </c:pt>
                <c:pt idx="277">
                  <c:v>16917</c:v>
                </c:pt>
                <c:pt idx="278">
                  <c:v>16917</c:v>
                </c:pt>
                <c:pt idx="279">
                  <c:v>16917</c:v>
                </c:pt>
                <c:pt idx="280">
                  <c:v>16917</c:v>
                </c:pt>
                <c:pt idx="281">
                  <c:v>16917</c:v>
                </c:pt>
                <c:pt idx="282">
                  <c:v>16917</c:v>
                </c:pt>
                <c:pt idx="283">
                  <c:v>16917</c:v>
                </c:pt>
                <c:pt idx="284">
                  <c:v>16917</c:v>
                </c:pt>
                <c:pt idx="285">
                  <c:v>16917</c:v>
                </c:pt>
                <c:pt idx="286">
                  <c:v>16917</c:v>
                </c:pt>
                <c:pt idx="287">
                  <c:v>16917</c:v>
                </c:pt>
                <c:pt idx="288">
                  <c:v>16917</c:v>
                </c:pt>
                <c:pt idx="289">
                  <c:v>16917</c:v>
                </c:pt>
                <c:pt idx="290">
                  <c:v>16917</c:v>
                </c:pt>
                <c:pt idx="291">
                  <c:v>16917</c:v>
                </c:pt>
                <c:pt idx="292">
                  <c:v>16917</c:v>
                </c:pt>
                <c:pt idx="293">
                  <c:v>16917</c:v>
                </c:pt>
                <c:pt idx="294">
                  <c:v>16917</c:v>
                </c:pt>
                <c:pt idx="295">
                  <c:v>16917</c:v>
                </c:pt>
                <c:pt idx="296">
                  <c:v>16918</c:v>
                </c:pt>
                <c:pt idx="297">
                  <c:v>16918</c:v>
                </c:pt>
                <c:pt idx="298">
                  <c:v>16918</c:v>
                </c:pt>
                <c:pt idx="299">
                  <c:v>16918</c:v>
                </c:pt>
                <c:pt idx="300">
                  <c:v>16918</c:v>
                </c:pt>
                <c:pt idx="301">
                  <c:v>16918</c:v>
                </c:pt>
                <c:pt idx="302">
                  <c:v>16919</c:v>
                </c:pt>
                <c:pt idx="303">
                  <c:v>16919</c:v>
                </c:pt>
                <c:pt idx="304">
                  <c:v>16919</c:v>
                </c:pt>
                <c:pt idx="305">
                  <c:v>16919</c:v>
                </c:pt>
                <c:pt idx="306">
                  <c:v>16919</c:v>
                </c:pt>
                <c:pt idx="307">
                  <c:v>16919</c:v>
                </c:pt>
                <c:pt idx="308">
                  <c:v>16919</c:v>
                </c:pt>
                <c:pt idx="309">
                  <c:v>16920</c:v>
                </c:pt>
                <c:pt idx="310">
                  <c:v>16921</c:v>
                </c:pt>
                <c:pt idx="311">
                  <c:v>16921</c:v>
                </c:pt>
                <c:pt idx="312">
                  <c:v>16921</c:v>
                </c:pt>
                <c:pt idx="313">
                  <c:v>16922</c:v>
                </c:pt>
                <c:pt idx="314">
                  <c:v>16922</c:v>
                </c:pt>
                <c:pt idx="315">
                  <c:v>16922</c:v>
                </c:pt>
                <c:pt idx="316">
                  <c:v>16922</c:v>
                </c:pt>
                <c:pt idx="317">
                  <c:v>16922</c:v>
                </c:pt>
                <c:pt idx="318">
                  <c:v>16922</c:v>
                </c:pt>
                <c:pt idx="319">
                  <c:v>16922</c:v>
                </c:pt>
                <c:pt idx="320">
                  <c:v>16922</c:v>
                </c:pt>
                <c:pt idx="321">
                  <c:v>16922</c:v>
                </c:pt>
                <c:pt idx="322">
                  <c:v>16922</c:v>
                </c:pt>
                <c:pt idx="323">
                  <c:v>16923</c:v>
                </c:pt>
                <c:pt idx="324">
                  <c:v>16923</c:v>
                </c:pt>
                <c:pt idx="325">
                  <c:v>16923</c:v>
                </c:pt>
                <c:pt idx="326">
                  <c:v>16923</c:v>
                </c:pt>
                <c:pt idx="327">
                  <c:v>16923</c:v>
                </c:pt>
                <c:pt idx="328">
                  <c:v>16923</c:v>
                </c:pt>
                <c:pt idx="329">
                  <c:v>16924</c:v>
                </c:pt>
                <c:pt idx="330">
                  <c:v>16926</c:v>
                </c:pt>
                <c:pt idx="331">
                  <c:v>16926</c:v>
                </c:pt>
                <c:pt idx="332">
                  <c:v>16926</c:v>
                </c:pt>
                <c:pt idx="333">
                  <c:v>16926</c:v>
                </c:pt>
                <c:pt idx="334">
                  <c:v>16926</c:v>
                </c:pt>
                <c:pt idx="335">
                  <c:v>16926</c:v>
                </c:pt>
                <c:pt idx="336">
                  <c:v>16926</c:v>
                </c:pt>
                <c:pt idx="337">
                  <c:v>16926</c:v>
                </c:pt>
                <c:pt idx="338">
                  <c:v>16926</c:v>
                </c:pt>
                <c:pt idx="339">
                  <c:v>16926</c:v>
                </c:pt>
                <c:pt idx="340">
                  <c:v>16926</c:v>
                </c:pt>
                <c:pt idx="341">
                  <c:v>16927</c:v>
                </c:pt>
                <c:pt idx="342">
                  <c:v>16927</c:v>
                </c:pt>
                <c:pt idx="343">
                  <c:v>16927</c:v>
                </c:pt>
                <c:pt idx="344">
                  <c:v>16928</c:v>
                </c:pt>
                <c:pt idx="345">
                  <c:v>16928</c:v>
                </c:pt>
                <c:pt idx="346">
                  <c:v>16928</c:v>
                </c:pt>
                <c:pt idx="347">
                  <c:v>16928</c:v>
                </c:pt>
                <c:pt idx="348">
                  <c:v>16928</c:v>
                </c:pt>
                <c:pt idx="349">
                  <c:v>16928</c:v>
                </c:pt>
                <c:pt idx="350">
                  <c:v>16928</c:v>
                </c:pt>
                <c:pt idx="351">
                  <c:v>16928</c:v>
                </c:pt>
                <c:pt idx="352">
                  <c:v>16928</c:v>
                </c:pt>
                <c:pt idx="353">
                  <c:v>16928</c:v>
                </c:pt>
                <c:pt idx="354">
                  <c:v>16928</c:v>
                </c:pt>
                <c:pt idx="355">
                  <c:v>16928</c:v>
                </c:pt>
                <c:pt idx="356">
                  <c:v>16929</c:v>
                </c:pt>
                <c:pt idx="357">
                  <c:v>16929</c:v>
                </c:pt>
                <c:pt idx="358">
                  <c:v>16929</c:v>
                </c:pt>
                <c:pt idx="359">
                  <c:v>16930</c:v>
                </c:pt>
                <c:pt idx="360">
                  <c:v>16931</c:v>
                </c:pt>
                <c:pt idx="361">
                  <c:v>16932</c:v>
                </c:pt>
                <c:pt idx="362">
                  <c:v>16932</c:v>
                </c:pt>
                <c:pt idx="363">
                  <c:v>16932</c:v>
                </c:pt>
                <c:pt idx="364">
                  <c:v>16932</c:v>
                </c:pt>
                <c:pt idx="365">
                  <c:v>16937</c:v>
                </c:pt>
                <c:pt idx="366">
                  <c:v>16938</c:v>
                </c:pt>
                <c:pt idx="367">
                  <c:v>16939</c:v>
                </c:pt>
                <c:pt idx="368">
                  <c:v>16939</c:v>
                </c:pt>
                <c:pt idx="369">
                  <c:v>16939</c:v>
                </c:pt>
                <c:pt idx="370">
                  <c:v>16940</c:v>
                </c:pt>
                <c:pt idx="371">
                  <c:v>16942</c:v>
                </c:pt>
                <c:pt idx="372">
                  <c:v>16943</c:v>
                </c:pt>
                <c:pt idx="373">
                  <c:v>16944</c:v>
                </c:pt>
                <c:pt idx="374">
                  <c:v>16945</c:v>
                </c:pt>
                <c:pt idx="375">
                  <c:v>16945</c:v>
                </c:pt>
                <c:pt idx="376">
                  <c:v>16946</c:v>
                </c:pt>
                <c:pt idx="377">
                  <c:v>16946</c:v>
                </c:pt>
                <c:pt idx="378">
                  <c:v>16947</c:v>
                </c:pt>
                <c:pt idx="379">
                  <c:v>16947</c:v>
                </c:pt>
                <c:pt idx="380">
                  <c:v>16947</c:v>
                </c:pt>
                <c:pt idx="381">
                  <c:v>16947</c:v>
                </c:pt>
                <c:pt idx="382">
                  <c:v>16948</c:v>
                </c:pt>
                <c:pt idx="383">
                  <c:v>16948</c:v>
                </c:pt>
                <c:pt idx="384">
                  <c:v>16952</c:v>
                </c:pt>
                <c:pt idx="385">
                  <c:v>16956</c:v>
                </c:pt>
                <c:pt idx="386">
                  <c:v>16958</c:v>
                </c:pt>
                <c:pt idx="387">
                  <c:v>16958</c:v>
                </c:pt>
                <c:pt idx="388">
                  <c:v>16958</c:v>
                </c:pt>
                <c:pt idx="389">
                  <c:v>16959</c:v>
                </c:pt>
                <c:pt idx="390">
                  <c:v>16960</c:v>
                </c:pt>
                <c:pt idx="391">
                  <c:v>16965</c:v>
                </c:pt>
                <c:pt idx="392">
                  <c:v>16967</c:v>
                </c:pt>
                <c:pt idx="393">
                  <c:v>16974</c:v>
                </c:pt>
                <c:pt idx="394">
                  <c:v>16977</c:v>
                </c:pt>
                <c:pt idx="395">
                  <c:v>16979</c:v>
                </c:pt>
                <c:pt idx="396">
                  <c:v>16979</c:v>
                </c:pt>
                <c:pt idx="397">
                  <c:v>16979</c:v>
                </c:pt>
                <c:pt idx="398">
                  <c:v>16983</c:v>
                </c:pt>
                <c:pt idx="399">
                  <c:v>16988</c:v>
                </c:pt>
                <c:pt idx="400">
                  <c:v>16990</c:v>
                </c:pt>
                <c:pt idx="401">
                  <c:v>16991</c:v>
                </c:pt>
                <c:pt idx="402">
                  <c:v>16993</c:v>
                </c:pt>
                <c:pt idx="403">
                  <c:v>16994</c:v>
                </c:pt>
                <c:pt idx="404">
                  <c:v>16994</c:v>
                </c:pt>
                <c:pt idx="405">
                  <c:v>16996</c:v>
                </c:pt>
                <c:pt idx="406">
                  <c:v>16999</c:v>
                </c:pt>
                <c:pt idx="407">
                  <c:v>17000</c:v>
                </c:pt>
                <c:pt idx="408">
                  <c:v>17003</c:v>
                </c:pt>
                <c:pt idx="409">
                  <c:v>17010</c:v>
                </c:pt>
                <c:pt idx="410">
                  <c:v>17012</c:v>
                </c:pt>
                <c:pt idx="411">
                  <c:v>17013</c:v>
                </c:pt>
                <c:pt idx="412">
                  <c:v>17025</c:v>
                </c:pt>
                <c:pt idx="413">
                  <c:v>17033</c:v>
                </c:pt>
                <c:pt idx="414">
                  <c:v>17044</c:v>
                </c:pt>
                <c:pt idx="415">
                  <c:v>17051</c:v>
                </c:pt>
                <c:pt idx="416">
                  <c:v>17062</c:v>
                </c:pt>
                <c:pt idx="417">
                  <c:v>17062</c:v>
                </c:pt>
                <c:pt idx="418">
                  <c:v>17066</c:v>
                </c:pt>
                <c:pt idx="419">
                  <c:v>17086</c:v>
                </c:pt>
                <c:pt idx="420">
                  <c:v>17092</c:v>
                </c:pt>
                <c:pt idx="421">
                  <c:v>17110</c:v>
                </c:pt>
                <c:pt idx="422">
                  <c:v>17113</c:v>
                </c:pt>
                <c:pt idx="423">
                  <c:v>17121</c:v>
                </c:pt>
                <c:pt idx="424">
                  <c:v>17126</c:v>
                </c:pt>
                <c:pt idx="425">
                  <c:v>17130</c:v>
                </c:pt>
                <c:pt idx="426">
                  <c:v>17171</c:v>
                </c:pt>
                <c:pt idx="427">
                  <c:v>17197</c:v>
                </c:pt>
                <c:pt idx="428">
                  <c:v>17218</c:v>
                </c:pt>
                <c:pt idx="429">
                  <c:v>17243</c:v>
                </c:pt>
                <c:pt idx="430">
                  <c:v>17270</c:v>
                </c:pt>
                <c:pt idx="431">
                  <c:v>17283</c:v>
                </c:pt>
                <c:pt idx="432">
                  <c:v>17288</c:v>
                </c:pt>
                <c:pt idx="433">
                  <c:v>17341</c:v>
                </c:pt>
                <c:pt idx="434">
                  <c:v>17369</c:v>
                </c:pt>
                <c:pt idx="435">
                  <c:v>17400</c:v>
                </c:pt>
                <c:pt idx="436">
                  <c:v>17438</c:v>
                </c:pt>
                <c:pt idx="437">
                  <c:v>17472</c:v>
                </c:pt>
                <c:pt idx="438">
                  <c:v>17492</c:v>
                </c:pt>
                <c:pt idx="439">
                  <c:v>17506</c:v>
                </c:pt>
                <c:pt idx="440">
                  <c:v>17564</c:v>
                </c:pt>
                <c:pt idx="441">
                  <c:v>17599</c:v>
                </c:pt>
                <c:pt idx="442">
                  <c:v>17613</c:v>
                </c:pt>
                <c:pt idx="443">
                  <c:v>17655</c:v>
                </c:pt>
                <c:pt idx="444">
                  <c:v>17707</c:v>
                </c:pt>
                <c:pt idx="445">
                  <c:v>17720</c:v>
                </c:pt>
                <c:pt idx="446">
                  <c:v>17727</c:v>
                </c:pt>
                <c:pt idx="447">
                  <c:v>17801</c:v>
                </c:pt>
                <c:pt idx="448">
                  <c:v>17845</c:v>
                </c:pt>
                <c:pt idx="449">
                  <c:v>17894</c:v>
                </c:pt>
                <c:pt idx="450">
                  <c:v>17943</c:v>
                </c:pt>
                <c:pt idx="451">
                  <c:v>17994</c:v>
                </c:pt>
                <c:pt idx="452">
                  <c:v>18016</c:v>
                </c:pt>
                <c:pt idx="453">
                  <c:v>18023</c:v>
                </c:pt>
                <c:pt idx="454">
                  <c:v>18068</c:v>
                </c:pt>
                <c:pt idx="455">
                  <c:v>18116</c:v>
                </c:pt>
                <c:pt idx="456">
                  <c:v>18159</c:v>
                </c:pt>
                <c:pt idx="457">
                  <c:v>18192</c:v>
                </c:pt>
                <c:pt idx="458">
                  <c:v>18222</c:v>
                </c:pt>
                <c:pt idx="459">
                  <c:v>18243</c:v>
                </c:pt>
                <c:pt idx="460">
                  <c:v>18253</c:v>
                </c:pt>
                <c:pt idx="461">
                  <c:v>18304</c:v>
                </c:pt>
                <c:pt idx="462">
                  <c:v>18340</c:v>
                </c:pt>
                <c:pt idx="463">
                  <c:v>18375</c:v>
                </c:pt>
                <c:pt idx="464">
                  <c:v>18401</c:v>
                </c:pt>
                <c:pt idx="465">
                  <c:v>18420</c:v>
                </c:pt>
                <c:pt idx="466">
                  <c:v>18433</c:v>
                </c:pt>
                <c:pt idx="467">
                  <c:v>18442</c:v>
                </c:pt>
                <c:pt idx="468">
                  <c:v>18477</c:v>
                </c:pt>
                <c:pt idx="469">
                  <c:v>18513</c:v>
                </c:pt>
                <c:pt idx="470">
                  <c:v>18541</c:v>
                </c:pt>
                <c:pt idx="471">
                  <c:v>18559</c:v>
                </c:pt>
                <c:pt idx="472">
                  <c:v>18574</c:v>
                </c:pt>
                <c:pt idx="473">
                  <c:v>18582</c:v>
                </c:pt>
                <c:pt idx="474">
                  <c:v>18592</c:v>
                </c:pt>
                <c:pt idx="475">
                  <c:v>18620</c:v>
                </c:pt>
                <c:pt idx="476">
                  <c:v>18633</c:v>
                </c:pt>
                <c:pt idx="477">
                  <c:v>18642</c:v>
                </c:pt>
                <c:pt idx="478">
                  <c:v>18646</c:v>
                </c:pt>
                <c:pt idx="479">
                  <c:v>18653</c:v>
                </c:pt>
                <c:pt idx="480">
                  <c:v>18656</c:v>
                </c:pt>
                <c:pt idx="481">
                  <c:v>18661</c:v>
                </c:pt>
                <c:pt idx="482">
                  <c:v>18671</c:v>
                </c:pt>
                <c:pt idx="483">
                  <c:v>18688</c:v>
                </c:pt>
                <c:pt idx="484">
                  <c:v>18697</c:v>
                </c:pt>
                <c:pt idx="485">
                  <c:v>18707</c:v>
                </c:pt>
                <c:pt idx="486">
                  <c:v>18713</c:v>
                </c:pt>
                <c:pt idx="487">
                  <c:v>18714</c:v>
                </c:pt>
                <c:pt idx="488">
                  <c:v>18718</c:v>
                </c:pt>
                <c:pt idx="489">
                  <c:v>18738</c:v>
                </c:pt>
                <c:pt idx="490">
                  <c:v>18752</c:v>
                </c:pt>
                <c:pt idx="491">
                  <c:v>18757</c:v>
                </c:pt>
                <c:pt idx="492">
                  <c:v>18766</c:v>
                </c:pt>
                <c:pt idx="493">
                  <c:v>18777</c:v>
                </c:pt>
                <c:pt idx="494">
                  <c:v>18780</c:v>
                </c:pt>
                <c:pt idx="495">
                  <c:v>18783</c:v>
                </c:pt>
                <c:pt idx="496">
                  <c:v>18802</c:v>
                </c:pt>
                <c:pt idx="497">
                  <c:v>18813</c:v>
                </c:pt>
                <c:pt idx="498">
                  <c:v>18822</c:v>
                </c:pt>
                <c:pt idx="499">
                  <c:v>18835</c:v>
                </c:pt>
                <c:pt idx="500">
                  <c:v>18848</c:v>
                </c:pt>
                <c:pt idx="501">
                  <c:v>18854</c:v>
                </c:pt>
                <c:pt idx="502">
                  <c:v>18865</c:v>
                </c:pt>
                <c:pt idx="503">
                  <c:v>18912</c:v>
                </c:pt>
                <c:pt idx="504">
                  <c:v>18947</c:v>
                </c:pt>
                <c:pt idx="505">
                  <c:v>18988</c:v>
                </c:pt>
                <c:pt idx="506">
                  <c:v>19036</c:v>
                </c:pt>
                <c:pt idx="507">
                  <c:v>19104</c:v>
                </c:pt>
                <c:pt idx="508">
                  <c:v>19124</c:v>
                </c:pt>
                <c:pt idx="509">
                  <c:v>19140</c:v>
                </c:pt>
                <c:pt idx="510">
                  <c:v>19235</c:v>
                </c:pt>
                <c:pt idx="511">
                  <c:v>19338</c:v>
                </c:pt>
                <c:pt idx="512">
                  <c:v>19435</c:v>
                </c:pt>
                <c:pt idx="513">
                  <c:v>19494</c:v>
                </c:pt>
                <c:pt idx="514">
                  <c:v>19568</c:v>
                </c:pt>
                <c:pt idx="515">
                  <c:v>19598</c:v>
                </c:pt>
                <c:pt idx="516">
                  <c:v>19629</c:v>
                </c:pt>
                <c:pt idx="517">
                  <c:v>19745</c:v>
                </c:pt>
                <c:pt idx="518">
                  <c:v>19861</c:v>
                </c:pt>
                <c:pt idx="519">
                  <c:v>19942</c:v>
                </c:pt>
                <c:pt idx="520">
                  <c:v>20012</c:v>
                </c:pt>
                <c:pt idx="521">
                  <c:v>20095</c:v>
                </c:pt>
                <c:pt idx="522">
                  <c:v>20127</c:v>
                </c:pt>
                <c:pt idx="523">
                  <c:v>20152</c:v>
                </c:pt>
                <c:pt idx="524">
                  <c:v>20285</c:v>
                </c:pt>
                <c:pt idx="525">
                  <c:v>20376</c:v>
                </c:pt>
                <c:pt idx="526">
                  <c:v>20440</c:v>
                </c:pt>
                <c:pt idx="527">
                  <c:v>20509</c:v>
                </c:pt>
                <c:pt idx="528">
                  <c:v>20561</c:v>
                </c:pt>
                <c:pt idx="529">
                  <c:v>20584</c:v>
                </c:pt>
                <c:pt idx="530">
                  <c:v>20610</c:v>
                </c:pt>
                <c:pt idx="531">
                  <c:v>20699</c:v>
                </c:pt>
                <c:pt idx="532">
                  <c:v>20774</c:v>
                </c:pt>
                <c:pt idx="533">
                  <c:v>20837</c:v>
                </c:pt>
                <c:pt idx="534">
                  <c:v>20889</c:v>
                </c:pt>
                <c:pt idx="535">
                  <c:v>20926</c:v>
                </c:pt>
                <c:pt idx="536">
                  <c:v>20953</c:v>
                </c:pt>
                <c:pt idx="537">
                  <c:v>20968</c:v>
                </c:pt>
                <c:pt idx="538">
                  <c:v>21030</c:v>
                </c:pt>
                <c:pt idx="539">
                  <c:v>21087</c:v>
                </c:pt>
                <c:pt idx="540">
                  <c:v>21138</c:v>
                </c:pt>
                <c:pt idx="541">
                  <c:v>21173</c:v>
                </c:pt>
                <c:pt idx="542">
                  <c:v>21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D$2:$D$544</c:f>
              <c:numCache>
                <c:formatCode>General</c:formatCode>
                <c:ptCount val="543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4</c:v>
                </c:pt>
                <c:pt idx="12">
                  <c:v>25</c:v>
                </c:pt>
                <c:pt idx="13">
                  <c:v>30</c:v>
                </c:pt>
                <c:pt idx="14">
                  <c:v>31</c:v>
                </c:pt>
                <c:pt idx="15">
                  <c:v>33</c:v>
                </c:pt>
                <c:pt idx="16">
                  <c:v>35</c:v>
                </c:pt>
                <c:pt idx="17">
                  <c:v>39</c:v>
                </c:pt>
                <c:pt idx="18">
                  <c:v>42</c:v>
                </c:pt>
                <c:pt idx="19">
                  <c:v>49</c:v>
                </c:pt>
                <c:pt idx="20">
                  <c:v>55</c:v>
                </c:pt>
                <c:pt idx="21">
                  <c:v>62</c:v>
                </c:pt>
                <c:pt idx="22">
                  <c:v>64</c:v>
                </c:pt>
                <c:pt idx="23">
                  <c:v>71</c:v>
                </c:pt>
                <c:pt idx="24">
                  <c:v>84</c:v>
                </c:pt>
                <c:pt idx="25">
                  <c:v>96</c:v>
                </c:pt>
                <c:pt idx="26">
                  <c:v>103</c:v>
                </c:pt>
                <c:pt idx="27">
                  <c:v>112</c:v>
                </c:pt>
                <c:pt idx="28">
                  <c:v>143</c:v>
                </c:pt>
                <c:pt idx="29">
                  <c:v>181</c:v>
                </c:pt>
                <c:pt idx="30">
                  <c:v>242</c:v>
                </c:pt>
                <c:pt idx="31">
                  <c:v>401</c:v>
                </c:pt>
                <c:pt idx="32">
                  <c:v>468</c:v>
                </c:pt>
                <c:pt idx="33">
                  <c:v>553</c:v>
                </c:pt>
                <c:pt idx="34">
                  <c:v>819</c:v>
                </c:pt>
                <c:pt idx="35">
                  <c:v>952</c:v>
                </c:pt>
                <c:pt idx="36">
                  <c:v>1040</c:v>
                </c:pt>
                <c:pt idx="37">
                  <c:v>1205</c:v>
                </c:pt>
                <c:pt idx="38">
                  <c:v>1437</c:v>
                </c:pt>
                <c:pt idx="39">
                  <c:v>1518</c:v>
                </c:pt>
                <c:pt idx="40">
                  <c:v>1557</c:v>
                </c:pt>
                <c:pt idx="41">
                  <c:v>1872</c:v>
                </c:pt>
                <c:pt idx="42">
                  <c:v>2260</c:v>
                </c:pt>
                <c:pt idx="43">
                  <c:v>2640</c:v>
                </c:pt>
                <c:pt idx="44">
                  <c:v>3053</c:v>
                </c:pt>
                <c:pt idx="45">
                  <c:v>3475</c:v>
                </c:pt>
                <c:pt idx="46">
                  <c:v>3739</c:v>
                </c:pt>
                <c:pt idx="47">
                  <c:v>3830</c:v>
                </c:pt>
                <c:pt idx="48">
                  <c:v>4277</c:v>
                </c:pt>
                <c:pt idx="49">
                  <c:v>4681</c:v>
                </c:pt>
                <c:pt idx="50">
                  <c:v>5280</c:v>
                </c:pt>
                <c:pt idx="51">
                  <c:v>5758</c:v>
                </c:pt>
                <c:pt idx="52">
                  <c:v>6524</c:v>
                </c:pt>
                <c:pt idx="53">
                  <c:v>6942</c:v>
                </c:pt>
                <c:pt idx="54">
                  <c:v>7230</c:v>
                </c:pt>
                <c:pt idx="55">
                  <c:v>8005</c:v>
                </c:pt>
                <c:pt idx="56">
                  <c:v>8961</c:v>
                </c:pt>
                <c:pt idx="57">
                  <c:v>9361</c:v>
                </c:pt>
                <c:pt idx="58">
                  <c:v>10391</c:v>
                </c:pt>
                <c:pt idx="59">
                  <c:v>11325</c:v>
                </c:pt>
                <c:pt idx="60">
                  <c:v>11851</c:v>
                </c:pt>
                <c:pt idx="61">
                  <c:v>12185</c:v>
                </c:pt>
                <c:pt idx="62">
                  <c:v>12838</c:v>
                </c:pt>
                <c:pt idx="63">
                  <c:v>13430</c:v>
                </c:pt>
                <c:pt idx="64">
                  <c:v>14202</c:v>
                </c:pt>
                <c:pt idx="65">
                  <c:v>15037</c:v>
                </c:pt>
                <c:pt idx="66">
                  <c:v>15777</c:v>
                </c:pt>
                <c:pt idx="67">
                  <c:v>16113</c:v>
                </c:pt>
                <c:pt idx="68">
                  <c:v>16244</c:v>
                </c:pt>
                <c:pt idx="69">
                  <c:v>16659</c:v>
                </c:pt>
                <c:pt idx="70">
                  <c:v>17257</c:v>
                </c:pt>
                <c:pt idx="71">
                  <c:v>18211</c:v>
                </c:pt>
                <c:pt idx="72">
                  <c:v>18961</c:v>
                </c:pt>
                <c:pt idx="73">
                  <c:v>19657</c:v>
                </c:pt>
                <c:pt idx="74">
                  <c:v>19916</c:v>
                </c:pt>
                <c:pt idx="75">
                  <c:v>20118</c:v>
                </c:pt>
                <c:pt idx="76">
                  <c:v>20707</c:v>
                </c:pt>
                <c:pt idx="77">
                  <c:v>20898</c:v>
                </c:pt>
                <c:pt idx="78">
                  <c:v>21336</c:v>
                </c:pt>
                <c:pt idx="79">
                  <c:v>21746</c:v>
                </c:pt>
                <c:pt idx="80">
                  <c:v>22117</c:v>
                </c:pt>
                <c:pt idx="81">
                  <c:v>22253</c:v>
                </c:pt>
                <c:pt idx="82">
                  <c:v>22364</c:v>
                </c:pt>
                <c:pt idx="83">
                  <c:v>22899</c:v>
                </c:pt>
                <c:pt idx="84">
                  <c:v>23211</c:v>
                </c:pt>
                <c:pt idx="85">
                  <c:v>23438</c:v>
                </c:pt>
                <c:pt idx="86">
                  <c:v>23695</c:v>
                </c:pt>
                <c:pt idx="87">
                  <c:v>23919</c:v>
                </c:pt>
                <c:pt idx="88">
                  <c:v>24020</c:v>
                </c:pt>
                <c:pt idx="89">
                  <c:v>24066</c:v>
                </c:pt>
                <c:pt idx="90">
                  <c:v>24392</c:v>
                </c:pt>
                <c:pt idx="91">
                  <c:v>24608</c:v>
                </c:pt>
                <c:pt idx="92">
                  <c:v>24816</c:v>
                </c:pt>
                <c:pt idx="93">
                  <c:v>25010</c:v>
                </c:pt>
                <c:pt idx="94">
                  <c:v>25251</c:v>
                </c:pt>
                <c:pt idx="95">
                  <c:v>25383</c:v>
                </c:pt>
                <c:pt idx="96">
                  <c:v>25432</c:v>
                </c:pt>
                <c:pt idx="97">
                  <c:v>25696</c:v>
                </c:pt>
                <c:pt idx="98">
                  <c:v>25866</c:v>
                </c:pt>
                <c:pt idx="99">
                  <c:v>26073</c:v>
                </c:pt>
                <c:pt idx="100">
                  <c:v>26220</c:v>
                </c:pt>
                <c:pt idx="101">
                  <c:v>26534</c:v>
                </c:pt>
                <c:pt idx="102">
                  <c:v>26622</c:v>
                </c:pt>
                <c:pt idx="103">
                  <c:v>26690</c:v>
                </c:pt>
                <c:pt idx="104">
                  <c:v>26981</c:v>
                </c:pt>
                <c:pt idx="105">
                  <c:v>27188</c:v>
                </c:pt>
                <c:pt idx="106">
                  <c:v>27386</c:v>
                </c:pt>
                <c:pt idx="107">
                  <c:v>27509</c:v>
                </c:pt>
                <c:pt idx="108">
                  <c:v>27821</c:v>
                </c:pt>
                <c:pt idx="109">
                  <c:v>27914</c:v>
                </c:pt>
                <c:pt idx="110">
                  <c:v>27965</c:v>
                </c:pt>
                <c:pt idx="111">
                  <c:v>28312</c:v>
                </c:pt>
                <c:pt idx="112">
                  <c:v>28607</c:v>
                </c:pt>
                <c:pt idx="113">
                  <c:v>28857</c:v>
                </c:pt>
                <c:pt idx="114">
                  <c:v>28907</c:v>
                </c:pt>
                <c:pt idx="115">
                  <c:v>29030</c:v>
                </c:pt>
                <c:pt idx="116">
                  <c:v>29162</c:v>
                </c:pt>
                <c:pt idx="117">
                  <c:v>29309</c:v>
                </c:pt>
                <c:pt idx="118">
                  <c:v>29672</c:v>
                </c:pt>
                <c:pt idx="119">
                  <c:v>30006</c:v>
                </c:pt>
                <c:pt idx="120">
                  <c:v>30269</c:v>
                </c:pt>
                <c:pt idx="121">
                  <c:v>30498</c:v>
                </c:pt>
                <c:pt idx="122">
                  <c:v>30599</c:v>
                </c:pt>
                <c:pt idx="123">
                  <c:v>30726</c:v>
                </c:pt>
                <c:pt idx="124">
                  <c:v>30809</c:v>
                </c:pt>
                <c:pt idx="125">
                  <c:v>31377</c:v>
                </c:pt>
                <c:pt idx="126">
                  <c:v>31684</c:v>
                </c:pt>
                <c:pt idx="127">
                  <c:v>31968</c:v>
                </c:pt>
                <c:pt idx="128">
                  <c:v>32311</c:v>
                </c:pt>
                <c:pt idx="129">
                  <c:v>32634</c:v>
                </c:pt>
                <c:pt idx="130">
                  <c:v>32757</c:v>
                </c:pt>
                <c:pt idx="131">
                  <c:v>32820</c:v>
                </c:pt>
                <c:pt idx="132">
                  <c:v>33311</c:v>
                </c:pt>
                <c:pt idx="133">
                  <c:v>33539</c:v>
                </c:pt>
                <c:pt idx="134">
                  <c:v>33826</c:v>
                </c:pt>
                <c:pt idx="135">
                  <c:v>33982</c:v>
                </c:pt>
                <c:pt idx="136">
                  <c:v>34142</c:v>
                </c:pt>
                <c:pt idx="137">
                  <c:v>34213</c:v>
                </c:pt>
                <c:pt idx="138">
                  <c:v>34289</c:v>
                </c:pt>
                <c:pt idx="139">
                  <c:v>34587</c:v>
                </c:pt>
                <c:pt idx="140">
                  <c:v>34748</c:v>
                </c:pt>
                <c:pt idx="141">
                  <c:v>34968</c:v>
                </c:pt>
                <c:pt idx="142">
                  <c:v>35145</c:v>
                </c:pt>
                <c:pt idx="143">
                  <c:v>35347</c:v>
                </c:pt>
                <c:pt idx="144">
                  <c:v>35428</c:v>
                </c:pt>
                <c:pt idx="145">
                  <c:v>35468</c:v>
                </c:pt>
                <c:pt idx="146">
                  <c:v>35647</c:v>
                </c:pt>
                <c:pt idx="147">
                  <c:v>35769</c:v>
                </c:pt>
                <c:pt idx="148">
                  <c:v>35925</c:v>
                </c:pt>
                <c:pt idx="149">
                  <c:v>36028</c:v>
                </c:pt>
                <c:pt idx="150">
                  <c:v>36114</c:v>
                </c:pt>
                <c:pt idx="151">
                  <c:v>36194</c:v>
                </c:pt>
                <c:pt idx="152">
                  <c:v>36218</c:v>
                </c:pt>
                <c:pt idx="153">
                  <c:v>36409</c:v>
                </c:pt>
                <c:pt idx="154">
                  <c:v>36582</c:v>
                </c:pt>
                <c:pt idx="155">
                  <c:v>36745</c:v>
                </c:pt>
                <c:pt idx="156">
                  <c:v>36877</c:v>
                </c:pt>
                <c:pt idx="157">
                  <c:v>37016</c:v>
                </c:pt>
                <c:pt idx="158">
                  <c:v>37073</c:v>
                </c:pt>
                <c:pt idx="159">
                  <c:v>37107</c:v>
                </c:pt>
                <c:pt idx="160">
                  <c:v>37249</c:v>
                </c:pt>
                <c:pt idx="161">
                  <c:v>37337</c:v>
                </c:pt>
                <c:pt idx="162">
                  <c:v>37439</c:v>
                </c:pt>
                <c:pt idx="163">
                  <c:v>37550</c:v>
                </c:pt>
                <c:pt idx="164">
                  <c:v>37642</c:v>
                </c:pt>
                <c:pt idx="165">
                  <c:v>37665</c:v>
                </c:pt>
                <c:pt idx="166">
                  <c:v>37695</c:v>
                </c:pt>
                <c:pt idx="167">
                  <c:v>37797</c:v>
                </c:pt>
                <c:pt idx="168">
                  <c:v>37850</c:v>
                </c:pt>
                <c:pt idx="169">
                  <c:v>37916</c:v>
                </c:pt>
                <c:pt idx="170">
                  <c:v>37981</c:v>
                </c:pt>
                <c:pt idx="171">
                  <c:v>38049</c:v>
                </c:pt>
                <c:pt idx="172">
                  <c:v>38076</c:v>
                </c:pt>
                <c:pt idx="173">
                  <c:v>38107</c:v>
                </c:pt>
                <c:pt idx="174">
                  <c:v>38279</c:v>
                </c:pt>
                <c:pt idx="175">
                  <c:v>38363</c:v>
                </c:pt>
                <c:pt idx="176">
                  <c:v>38434</c:v>
                </c:pt>
                <c:pt idx="177">
                  <c:v>38515</c:v>
                </c:pt>
                <c:pt idx="178">
                  <c:v>38609</c:v>
                </c:pt>
                <c:pt idx="179">
                  <c:v>38632</c:v>
                </c:pt>
                <c:pt idx="180">
                  <c:v>38645</c:v>
                </c:pt>
                <c:pt idx="181">
                  <c:v>38790</c:v>
                </c:pt>
                <c:pt idx="182">
                  <c:v>38861</c:v>
                </c:pt>
                <c:pt idx="183">
                  <c:v>38965</c:v>
                </c:pt>
                <c:pt idx="184">
                  <c:v>39024</c:v>
                </c:pt>
                <c:pt idx="185">
                  <c:v>39084</c:v>
                </c:pt>
                <c:pt idx="186">
                  <c:v>39104</c:v>
                </c:pt>
                <c:pt idx="187">
                  <c:v>39124</c:v>
                </c:pt>
                <c:pt idx="188">
                  <c:v>39216</c:v>
                </c:pt>
                <c:pt idx="189">
                  <c:v>39360</c:v>
                </c:pt>
                <c:pt idx="190">
                  <c:v>39450</c:v>
                </c:pt>
                <c:pt idx="191">
                  <c:v>39493</c:v>
                </c:pt>
                <c:pt idx="192">
                  <c:v>39547</c:v>
                </c:pt>
                <c:pt idx="193">
                  <c:v>39568</c:v>
                </c:pt>
                <c:pt idx="194">
                  <c:v>39582</c:v>
                </c:pt>
                <c:pt idx="195">
                  <c:v>39654</c:v>
                </c:pt>
                <c:pt idx="196">
                  <c:v>39701</c:v>
                </c:pt>
                <c:pt idx="197">
                  <c:v>39740</c:v>
                </c:pt>
                <c:pt idx="198">
                  <c:v>39793</c:v>
                </c:pt>
                <c:pt idx="199">
                  <c:v>39834</c:v>
                </c:pt>
                <c:pt idx="200">
                  <c:v>39846</c:v>
                </c:pt>
                <c:pt idx="201">
                  <c:v>39855</c:v>
                </c:pt>
                <c:pt idx="202">
                  <c:v>39905</c:v>
                </c:pt>
                <c:pt idx="203">
                  <c:v>39954</c:v>
                </c:pt>
                <c:pt idx="204">
                  <c:v>39986</c:v>
                </c:pt>
                <c:pt idx="205">
                  <c:v>40028</c:v>
                </c:pt>
                <c:pt idx="206">
                  <c:v>40052</c:v>
                </c:pt>
                <c:pt idx="207">
                  <c:v>40058</c:v>
                </c:pt>
                <c:pt idx="208">
                  <c:v>40063</c:v>
                </c:pt>
                <c:pt idx="209">
                  <c:v>40110</c:v>
                </c:pt>
                <c:pt idx="210">
                  <c:v>40143</c:v>
                </c:pt>
                <c:pt idx="211">
                  <c:v>40168</c:v>
                </c:pt>
                <c:pt idx="212">
                  <c:v>40192</c:v>
                </c:pt>
                <c:pt idx="213">
                  <c:v>40201</c:v>
                </c:pt>
                <c:pt idx="214">
                  <c:v>40209</c:v>
                </c:pt>
                <c:pt idx="215">
                  <c:v>40213</c:v>
                </c:pt>
                <c:pt idx="216">
                  <c:v>40222</c:v>
                </c:pt>
                <c:pt idx="217">
                  <c:v>40249</c:v>
                </c:pt>
                <c:pt idx="218">
                  <c:v>40286</c:v>
                </c:pt>
                <c:pt idx="219">
                  <c:v>40305</c:v>
                </c:pt>
                <c:pt idx="220">
                  <c:v>40316</c:v>
                </c:pt>
                <c:pt idx="221">
                  <c:v>40323</c:v>
                </c:pt>
                <c:pt idx="222">
                  <c:v>40324</c:v>
                </c:pt>
                <c:pt idx="223">
                  <c:v>40334</c:v>
                </c:pt>
                <c:pt idx="224">
                  <c:v>40345</c:v>
                </c:pt>
                <c:pt idx="225">
                  <c:v>40353</c:v>
                </c:pt>
                <c:pt idx="226">
                  <c:v>40363</c:v>
                </c:pt>
                <c:pt idx="227">
                  <c:v>40371</c:v>
                </c:pt>
                <c:pt idx="228">
                  <c:v>40373</c:v>
                </c:pt>
                <c:pt idx="229">
                  <c:v>40376</c:v>
                </c:pt>
                <c:pt idx="230">
                  <c:v>40394</c:v>
                </c:pt>
                <c:pt idx="231">
                  <c:v>40406</c:v>
                </c:pt>
                <c:pt idx="232">
                  <c:v>40415</c:v>
                </c:pt>
                <c:pt idx="233">
                  <c:v>40432</c:v>
                </c:pt>
                <c:pt idx="234">
                  <c:v>40442</c:v>
                </c:pt>
                <c:pt idx="235">
                  <c:v>40444</c:v>
                </c:pt>
                <c:pt idx="236">
                  <c:v>40444</c:v>
                </c:pt>
                <c:pt idx="237">
                  <c:v>40454</c:v>
                </c:pt>
                <c:pt idx="238">
                  <c:v>40467</c:v>
                </c:pt>
                <c:pt idx="239">
                  <c:v>40472</c:v>
                </c:pt>
                <c:pt idx="240">
                  <c:v>40477</c:v>
                </c:pt>
                <c:pt idx="241">
                  <c:v>40484</c:v>
                </c:pt>
                <c:pt idx="242">
                  <c:v>40484</c:v>
                </c:pt>
                <c:pt idx="243">
                  <c:v>40485</c:v>
                </c:pt>
                <c:pt idx="244">
                  <c:v>40491</c:v>
                </c:pt>
                <c:pt idx="245">
                  <c:v>40493</c:v>
                </c:pt>
                <c:pt idx="246">
                  <c:v>40497</c:v>
                </c:pt>
                <c:pt idx="247">
                  <c:v>40502</c:v>
                </c:pt>
                <c:pt idx="248">
                  <c:v>40505</c:v>
                </c:pt>
                <c:pt idx="249">
                  <c:v>40506</c:v>
                </c:pt>
                <c:pt idx="250">
                  <c:v>40509</c:v>
                </c:pt>
                <c:pt idx="251">
                  <c:v>40517</c:v>
                </c:pt>
                <c:pt idx="252">
                  <c:v>40523</c:v>
                </c:pt>
                <c:pt idx="253">
                  <c:v>40523</c:v>
                </c:pt>
                <c:pt idx="254">
                  <c:v>40528</c:v>
                </c:pt>
                <c:pt idx="255">
                  <c:v>40534</c:v>
                </c:pt>
                <c:pt idx="256">
                  <c:v>40535</c:v>
                </c:pt>
                <c:pt idx="257">
                  <c:v>40535</c:v>
                </c:pt>
                <c:pt idx="258">
                  <c:v>40543</c:v>
                </c:pt>
                <c:pt idx="259">
                  <c:v>40548</c:v>
                </c:pt>
                <c:pt idx="260">
                  <c:v>40552</c:v>
                </c:pt>
                <c:pt idx="261">
                  <c:v>40555</c:v>
                </c:pt>
                <c:pt idx="262">
                  <c:v>40556</c:v>
                </c:pt>
                <c:pt idx="263">
                  <c:v>40556</c:v>
                </c:pt>
                <c:pt idx="264">
                  <c:v>40556</c:v>
                </c:pt>
                <c:pt idx="265">
                  <c:v>40560</c:v>
                </c:pt>
                <c:pt idx="266">
                  <c:v>40561</c:v>
                </c:pt>
                <c:pt idx="267">
                  <c:v>40562</c:v>
                </c:pt>
                <c:pt idx="268">
                  <c:v>40564</c:v>
                </c:pt>
                <c:pt idx="269">
                  <c:v>40564</c:v>
                </c:pt>
                <c:pt idx="270">
                  <c:v>40564</c:v>
                </c:pt>
                <c:pt idx="271">
                  <c:v>40564</c:v>
                </c:pt>
                <c:pt idx="272">
                  <c:v>40565</c:v>
                </c:pt>
                <c:pt idx="273">
                  <c:v>40565</c:v>
                </c:pt>
                <c:pt idx="274">
                  <c:v>40568</c:v>
                </c:pt>
                <c:pt idx="275">
                  <c:v>40571</c:v>
                </c:pt>
                <c:pt idx="276">
                  <c:v>40571</c:v>
                </c:pt>
                <c:pt idx="277">
                  <c:v>40571</c:v>
                </c:pt>
                <c:pt idx="278">
                  <c:v>40571</c:v>
                </c:pt>
                <c:pt idx="279">
                  <c:v>40572</c:v>
                </c:pt>
                <c:pt idx="280">
                  <c:v>40572</c:v>
                </c:pt>
                <c:pt idx="281">
                  <c:v>40572</c:v>
                </c:pt>
                <c:pt idx="282">
                  <c:v>40572</c:v>
                </c:pt>
                <c:pt idx="283">
                  <c:v>40573</c:v>
                </c:pt>
                <c:pt idx="284">
                  <c:v>40573</c:v>
                </c:pt>
                <c:pt idx="285">
                  <c:v>40573</c:v>
                </c:pt>
                <c:pt idx="286">
                  <c:v>40573</c:v>
                </c:pt>
                <c:pt idx="287">
                  <c:v>40573</c:v>
                </c:pt>
                <c:pt idx="288">
                  <c:v>40573</c:v>
                </c:pt>
                <c:pt idx="289">
                  <c:v>40574</c:v>
                </c:pt>
                <c:pt idx="290">
                  <c:v>40574</c:v>
                </c:pt>
                <c:pt idx="291">
                  <c:v>40574</c:v>
                </c:pt>
                <c:pt idx="292">
                  <c:v>40574</c:v>
                </c:pt>
                <c:pt idx="293">
                  <c:v>40574</c:v>
                </c:pt>
                <c:pt idx="294">
                  <c:v>40574</c:v>
                </c:pt>
                <c:pt idx="295">
                  <c:v>40575</c:v>
                </c:pt>
                <c:pt idx="296">
                  <c:v>40577</c:v>
                </c:pt>
                <c:pt idx="297">
                  <c:v>40577</c:v>
                </c:pt>
                <c:pt idx="298">
                  <c:v>40577</c:v>
                </c:pt>
                <c:pt idx="299">
                  <c:v>40577</c:v>
                </c:pt>
                <c:pt idx="300">
                  <c:v>40577</c:v>
                </c:pt>
                <c:pt idx="301">
                  <c:v>40577</c:v>
                </c:pt>
                <c:pt idx="302">
                  <c:v>40578</c:v>
                </c:pt>
                <c:pt idx="303">
                  <c:v>40579</c:v>
                </c:pt>
                <c:pt idx="304">
                  <c:v>40579</c:v>
                </c:pt>
                <c:pt idx="305">
                  <c:v>40579</c:v>
                </c:pt>
                <c:pt idx="306">
                  <c:v>40580</c:v>
                </c:pt>
                <c:pt idx="307">
                  <c:v>40580</c:v>
                </c:pt>
                <c:pt idx="308">
                  <c:v>40580</c:v>
                </c:pt>
                <c:pt idx="309">
                  <c:v>40581</c:v>
                </c:pt>
                <c:pt idx="310">
                  <c:v>40583</c:v>
                </c:pt>
                <c:pt idx="311">
                  <c:v>40583</c:v>
                </c:pt>
                <c:pt idx="312">
                  <c:v>40583</c:v>
                </c:pt>
                <c:pt idx="313">
                  <c:v>40584</c:v>
                </c:pt>
                <c:pt idx="314">
                  <c:v>40584</c:v>
                </c:pt>
                <c:pt idx="315">
                  <c:v>40584</c:v>
                </c:pt>
                <c:pt idx="316">
                  <c:v>40584</c:v>
                </c:pt>
                <c:pt idx="317">
                  <c:v>40584</c:v>
                </c:pt>
                <c:pt idx="318">
                  <c:v>40584</c:v>
                </c:pt>
                <c:pt idx="319">
                  <c:v>40584</c:v>
                </c:pt>
                <c:pt idx="320">
                  <c:v>40584</c:v>
                </c:pt>
                <c:pt idx="321">
                  <c:v>40584</c:v>
                </c:pt>
                <c:pt idx="322">
                  <c:v>40584</c:v>
                </c:pt>
                <c:pt idx="323">
                  <c:v>40585</c:v>
                </c:pt>
                <c:pt idx="324">
                  <c:v>40585</c:v>
                </c:pt>
                <c:pt idx="325">
                  <c:v>40585</c:v>
                </c:pt>
                <c:pt idx="326">
                  <c:v>40586</c:v>
                </c:pt>
                <c:pt idx="327">
                  <c:v>40586</c:v>
                </c:pt>
                <c:pt idx="328">
                  <c:v>40586</c:v>
                </c:pt>
                <c:pt idx="329">
                  <c:v>40587</c:v>
                </c:pt>
                <c:pt idx="330">
                  <c:v>40589</c:v>
                </c:pt>
                <c:pt idx="331">
                  <c:v>40589</c:v>
                </c:pt>
                <c:pt idx="332">
                  <c:v>40590</c:v>
                </c:pt>
                <c:pt idx="333">
                  <c:v>40590</c:v>
                </c:pt>
                <c:pt idx="334">
                  <c:v>40590</c:v>
                </c:pt>
                <c:pt idx="335">
                  <c:v>40590</c:v>
                </c:pt>
                <c:pt idx="336">
                  <c:v>40590</c:v>
                </c:pt>
                <c:pt idx="337">
                  <c:v>40590</c:v>
                </c:pt>
                <c:pt idx="338">
                  <c:v>40590</c:v>
                </c:pt>
                <c:pt idx="339">
                  <c:v>40590</c:v>
                </c:pt>
                <c:pt idx="340">
                  <c:v>40590</c:v>
                </c:pt>
                <c:pt idx="341">
                  <c:v>40591</c:v>
                </c:pt>
                <c:pt idx="342">
                  <c:v>40591</c:v>
                </c:pt>
                <c:pt idx="343">
                  <c:v>40591</c:v>
                </c:pt>
                <c:pt idx="344">
                  <c:v>40592</c:v>
                </c:pt>
                <c:pt idx="345">
                  <c:v>40592</c:v>
                </c:pt>
                <c:pt idx="346">
                  <c:v>40592</c:v>
                </c:pt>
                <c:pt idx="347">
                  <c:v>40592</c:v>
                </c:pt>
                <c:pt idx="348">
                  <c:v>40592</c:v>
                </c:pt>
                <c:pt idx="349">
                  <c:v>40593</c:v>
                </c:pt>
                <c:pt idx="350">
                  <c:v>40594</c:v>
                </c:pt>
                <c:pt idx="351">
                  <c:v>40594</c:v>
                </c:pt>
                <c:pt idx="352">
                  <c:v>40595</c:v>
                </c:pt>
                <c:pt idx="353">
                  <c:v>40595</c:v>
                </c:pt>
                <c:pt idx="354">
                  <c:v>40595</c:v>
                </c:pt>
                <c:pt idx="355">
                  <c:v>40595</c:v>
                </c:pt>
                <c:pt idx="356">
                  <c:v>40598</c:v>
                </c:pt>
                <c:pt idx="357">
                  <c:v>40598</c:v>
                </c:pt>
                <c:pt idx="358">
                  <c:v>40598</c:v>
                </c:pt>
                <c:pt idx="359">
                  <c:v>40599</c:v>
                </c:pt>
                <c:pt idx="360">
                  <c:v>40600</c:v>
                </c:pt>
                <c:pt idx="361">
                  <c:v>40601</c:v>
                </c:pt>
                <c:pt idx="362">
                  <c:v>40601</c:v>
                </c:pt>
                <c:pt idx="363">
                  <c:v>40601</c:v>
                </c:pt>
                <c:pt idx="364">
                  <c:v>40601</c:v>
                </c:pt>
                <c:pt idx="365">
                  <c:v>40607</c:v>
                </c:pt>
                <c:pt idx="366">
                  <c:v>40612</c:v>
                </c:pt>
                <c:pt idx="367">
                  <c:v>40615</c:v>
                </c:pt>
                <c:pt idx="368">
                  <c:v>40616</c:v>
                </c:pt>
                <c:pt idx="369">
                  <c:v>40616</c:v>
                </c:pt>
                <c:pt idx="370">
                  <c:v>40621</c:v>
                </c:pt>
                <c:pt idx="371">
                  <c:v>40623</c:v>
                </c:pt>
                <c:pt idx="372">
                  <c:v>40624</c:v>
                </c:pt>
                <c:pt idx="373">
                  <c:v>40626</c:v>
                </c:pt>
                <c:pt idx="374">
                  <c:v>40627</c:v>
                </c:pt>
                <c:pt idx="375">
                  <c:v>40627</c:v>
                </c:pt>
                <c:pt idx="376">
                  <c:v>40628</c:v>
                </c:pt>
                <c:pt idx="377">
                  <c:v>40629</c:v>
                </c:pt>
                <c:pt idx="378">
                  <c:v>40630</c:v>
                </c:pt>
                <c:pt idx="379">
                  <c:v>40630</c:v>
                </c:pt>
                <c:pt idx="380">
                  <c:v>40630</c:v>
                </c:pt>
                <c:pt idx="381">
                  <c:v>40630</c:v>
                </c:pt>
                <c:pt idx="382">
                  <c:v>40631</c:v>
                </c:pt>
                <c:pt idx="383">
                  <c:v>40631</c:v>
                </c:pt>
                <c:pt idx="384">
                  <c:v>40636</c:v>
                </c:pt>
                <c:pt idx="385">
                  <c:v>40644</c:v>
                </c:pt>
                <c:pt idx="386">
                  <c:v>40647</c:v>
                </c:pt>
                <c:pt idx="387">
                  <c:v>40647</c:v>
                </c:pt>
                <c:pt idx="388">
                  <c:v>40647</c:v>
                </c:pt>
                <c:pt idx="389">
                  <c:v>40648</c:v>
                </c:pt>
                <c:pt idx="390">
                  <c:v>40649</c:v>
                </c:pt>
                <c:pt idx="391">
                  <c:v>40656</c:v>
                </c:pt>
                <c:pt idx="392">
                  <c:v>40658</c:v>
                </c:pt>
                <c:pt idx="393">
                  <c:v>40666</c:v>
                </c:pt>
                <c:pt idx="394">
                  <c:v>40669</c:v>
                </c:pt>
                <c:pt idx="395">
                  <c:v>40672</c:v>
                </c:pt>
                <c:pt idx="396">
                  <c:v>40673</c:v>
                </c:pt>
                <c:pt idx="397">
                  <c:v>40674</c:v>
                </c:pt>
                <c:pt idx="398">
                  <c:v>40680</c:v>
                </c:pt>
                <c:pt idx="399">
                  <c:v>40687</c:v>
                </c:pt>
                <c:pt idx="400">
                  <c:v>40700</c:v>
                </c:pt>
                <c:pt idx="401">
                  <c:v>40703</c:v>
                </c:pt>
                <c:pt idx="402">
                  <c:v>40730</c:v>
                </c:pt>
                <c:pt idx="403">
                  <c:v>40732</c:v>
                </c:pt>
                <c:pt idx="404">
                  <c:v>40732</c:v>
                </c:pt>
                <c:pt idx="405">
                  <c:v>40735</c:v>
                </c:pt>
                <c:pt idx="406">
                  <c:v>40739</c:v>
                </c:pt>
                <c:pt idx="407">
                  <c:v>40760</c:v>
                </c:pt>
                <c:pt idx="408">
                  <c:v>40766</c:v>
                </c:pt>
                <c:pt idx="409">
                  <c:v>40775</c:v>
                </c:pt>
                <c:pt idx="410">
                  <c:v>40777</c:v>
                </c:pt>
                <c:pt idx="411">
                  <c:v>40778</c:v>
                </c:pt>
                <c:pt idx="412">
                  <c:v>40796</c:v>
                </c:pt>
                <c:pt idx="413">
                  <c:v>40809</c:v>
                </c:pt>
                <c:pt idx="414">
                  <c:v>40824</c:v>
                </c:pt>
                <c:pt idx="415">
                  <c:v>40833</c:v>
                </c:pt>
                <c:pt idx="416">
                  <c:v>40849</c:v>
                </c:pt>
                <c:pt idx="417">
                  <c:v>40850</c:v>
                </c:pt>
                <c:pt idx="418">
                  <c:v>40855</c:v>
                </c:pt>
                <c:pt idx="419">
                  <c:v>40889</c:v>
                </c:pt>
                <c:pt idx="420">
                  <c:v>40904</c:v>
                </c:pt>
                <c:pt idx="421">
                  <c:v>40933</c:v>
                </c:pt>
                <c:pt idx="422">
                  <c:v>40936</c:v>
                </c:pt>
                <c:pt idx="423">
                  <c:v>40962</c:v>
                </c:pt>
                <c:pt idx="424">
                  <c:v>40974</c:v>
                </c:pt>
                <c:pt idx="425">
                  <c:v>40989</c:v>
                </c:pt>
                <c:pt idx="426">
                  <c:v>41065</c:v>
                </c:pt>
                <c:pt idx="427">
                  <c:v>41106</c:v>
                </c:pt>
                <c:pt idx="428">
                  <c:v>41143</c:v>
                </c:pt>
                <c:pt idx="429">
                  <c:v>41221</c:v>
                </c:pt>
                <c:pt idx="430">
                  <c:v>41271</c:v>
                </c:pt>
                <c:pt idx="431">
                  <c:v>41290</c:v>
                </c:pt>
                <c:pt idx="432">
                  <c:v>41300</c:v>
                </c:pt>
                <c:pt idx="433">
                  <c:v>41383</c:v>
                </c:pt>
                <c:pt idx="434">
                  <c:v>41441</c:v>
                </c:pt>
                <c:pt idx="435">
                  <c:v>41488</c:v>
                </c:pt>
                <c:pt idx="436">
                  <c:v>41545</c:v>
                </c:pt>
                <c:pt idx="437">
                  <c:v>41596</c:v>
                </c:pt>
                <c:pt idx="438">
                  <c:v>41629</c:v>
                </c:pt>
                <c:pt idx="439">
                  <c:v>41658</c:v>
                </c:pt>
                <c:pt idx="440">
                  <c:v>41759</c:v>
                </c:pt>
                <c:pt idx="441">
                  <c:v>41826</c:v>
                </c:pt>
                <c:pt idx="442">
                  <c:v>41865</c:v>
                </c:pt>
                <c:pt idx="443">
                  <c:v>41963</c:v>
                </c:pt>
                <c:pt idx="444">
                  <c:v>42100</c:v>
                </c:pt>
                <c:pt idx="445">
                  <c:v>42139</c:v>
                </c:pt>
                <c:pt idx="446">
                  <c:v>42155</c:v>
                </c:pt>
                <c:pt idx="447">
                  <c:v>42279</c:v>
                </c:pt>
                <c:pt idx="448">
                  <c:v>42346</c:v>
                </c:pt>
                <c:pt idx="449">
                  <c:v>42437</c:v>
                </c:pt>
                <c:pt idx="450">
                  <c:v>42515</c:v>
                </c:pt>
                <c:pt idx="451">
                  <c:v>42619</c:v>
                </c:pt>
                <c:pt idx="452">
                  <c:v>42646</c:v>
                </c:pt>
                <c:pt idx="453">
                  <c:v>42660</c:v>
                </c:pt>
                <c:pt idx="454">
                  <c:v>42749</c:v>
                </c:pt>
                <c:pt idx="455">
                  <c:v>42811</c:v>
                </c:pt>
                <c:pt idx="456">
                  <c:v>42884</c:v>
                </c:pt>
                <c:pt idx="457">
                  <c:v>42948</c:v>
                </c:pt>
                <c:pt idx="458">
                  <c:v>42991</c:v>
                </c:pt>
                <c:pt idx="459">
                  <c:v>43051</c:v>
                </c:pt>
                <c:pt idx="460">
                  <c:v>43068</c:v>
                </c:pt>
                <c:pt idx="461">
                  <c:v>43150</c:v>
                </c:pt>
                <c:pt idx="462">
                  <c:v>43208</c:v>
                </c:pt>
                <c:pt idx="463">
                  <c:v>43261</c:v>
                </c:pt>
                <c:pt idx="464">
                  <c:v>43318</c:v>
                </c:pt>
                <c:pt idx="465">
                  <c:v>43367</c:v>
                </c:pt>
                <c:pt idx="466">
                  <c:v>43386</c:v>
                </c:pt>
                <c:pt idx="467">
                  <c:v>43395</c:v>
                </c:pt>
                <c:pt idx="468">
                  <c:v>43446</c:v>
                </c:pt>
                <c:pt idx="469">
                  <c:v>43509</c:v>
                </c:pt>
                <c:pt idx="470">
                  <c:v>43553</c:v>
                </c:pt>
                <c:pt idx="471">
                  <c:v>43578</c:v>
                </c:pt>
                <c:pt idx="472">
                  <c:v>43605</c:v>
                </c:pt>
                <c:pt idx="473">
                  <c:v>43615</c:v>
                </c:pt>
                <c:pt idx="474">
                  <c:v>43628</c:v>
                </c:pt>
                <c:pt idx="475">
                  <c:v>43672</c:v>
                </c:pt>
                <c:pt idx="476">
                  <c:v>43693</c:v>
                </c:pt>
                <c:pt idx="477">
                  <c:v>43705</c:v>
                </c:pt>
                <c:pt idx="478">
                  <c:v>43714</c:v>
                </c:pt>
                <c:pt idx="479">
                  <c:v>43722</c:v>
                </c:pt>
                <c:pt idx="480">
                  <c:v>43730</c:v>
                </c:pt>
                <c:pt idx="481">
                  <c:v>43735</c:v>
                </c:pt>
                <c:pt idx="482">
                  <c:v>43755</c:v>
                </c:pt>
                <c:pt idx="483">
                  <c:v>43779</c:v>
                </c:pt>
                <c:pt idx="484">
                  <c:v>43794</c:v>
                </c:pt>
                <c:pt idx="485">
                  <c:v>43806</c:v>
                </c:pt>
                <c:pt idx="486">
                  <c:v>43822</c:v>
                </c:pt>
                <c:pt idx="487">
                  <c:v>43825</c:v>
                </c:pt>
                <c:pt idx="488">
                  <c:v>43829</c:v>
                </c:pt>
                <c:pt idx="489">
                  <c:v>43853</c:v>
                </c:pt>
                <c:pt idx="490">
                  <c:v>43872</c:v>
                </c:pt>
                <c:pt idx="491">
                  <c:v>43884</c:v>
                </c:pt>
                <c:pt idx="492">
                  <c:v>43900</c:v>
                </c:pt>
                <c:pt idx="493">
                  <c:v>43917</c:v>
                </c:pt>
                <c:pt idx="494">
                  <c:v>43921</c:v>
                </c:pt>
                <c:pt idx="495">
                  <c:v>43926</c:v>
                </c:pt>
                <c:pt idx="496">
                  <c:v>43946</c:v>
                </c:pt>
                <c:pt idx="497">
                  <c:v>43965</c:v>
                </c:pt>
                <c:pt idx="498">
                  <c:v>43978</c:v>
                </c:pt>
                <c:pt idx="499">
                  <c:v>43994</c:v>
                </c:pt>
                <c:pt idx="500">
                  <c:v>44015</c:v>
                </c:pt>
                <c:pt idx="501">
                  <c:v>44022</c:v>
                </c:pt>
                <c:pt idx="502">
                  <c:v>44037</c:v>
                </c:pt>
                <c:pt idx="503">
                  <c:v>44105</c:v>
                </c:pt>
                <c:pt idx="504">
                  <c:v>44152</c:v>
                </c:pt>
                <c:pt idx="505">
                  <c:v>44204</c:v>
                </c:pt>
                <c:pt idx="506">
                  <c:v>44273</c:v>
                </c:pt>
                <c:pt idx="507">
                  <c:v>44356</c:v>
                </c:pt>
                <c:pt idx="508">
                  <c:v>44408</c:v>
                </c:pt>
                <c:pt idx="509">
                  <c:v>44430</c:v>
                </c:pt>
                <c:pt idx="510">
                  <c:v>44569</c:v>
                </c:pt>
                <c:pt idx="511">
                  <c:v>44713</c:v>
                </c:pt>
                <c:pt idx="512">
                  <c:v>44849</c:v>
                </c:pt>
                <c:pt idx="513">
                  <c:v>44933</c:v>
                </c:pt>
                <c:pt idx="514">
                  <c:v>45055</c:v>
                </c:pt>
                <c:pt idx="515">
                  <c:v>45089</c:v>
                </c:pt>
                <c:pt idx="516">
                  <c:v>45126</c:v>
                </c:pt>
                <c:pt idx="517">
                  <c:v>45284</c:v>
                </c:pt>
                <c:pt idx="518">
                  <c:v>45452</c:v>
                </c:pt>
                <c:pt idx="519">
                  <c:v>45566</c:v>
                </c:pt>
                <c:pt idx="520">
                  <c:v>45657</c:v>
                </c:pt>
                <c:pt idx="521">
                  <c:v>45797</c:v>
                </c:pt>
                <c:pt idx="522">
                  <c:v>45849</c:v>
                </c:pt>
                <c:pt idx="523">
                  <c:v>45888</c:v>
                </c:pt>
                <c:pt idx="524">
                  <c:v>46109</c:v>
                </c:pt>
                <c:pt idx="525">
                  <c:v>46250</c:v>
                </c:pt>
                <c:pt idx="526">
                  <c:v>46343</c:v>
                </c:pt>
                <c:pt idx="527">
                  <c:v>46452</c:v>
                </c:pt>
                <c:pt idx="528">
                  <c:v>46569</c:v>
                </c:pt>
                <c:pt idx="529">
                  <c:v>46612</c:v>
                </c:pt>
                <c:pt idx="530">
                  <c:v>46654</c:v>
                </c:pt>
                <c:pt idx="531">
                  <c:v>46802</c:v>
                </c:pt>
                <c:pt idx="532">
                  <c:v>46928</c:v>
                </c:pt>
                <c:pt idx="533">
                  <c:v>47041</c:v>
                </c:pt>
                <c:pt idx="534">
                  <c:v>47175</c:v>
                </c:pt>
                <c:pt idx="535">
                  <c:v>47244</c:v>
                </c:pt>
                <c:pt idx="536">
                  <c:v>47281</c:v>
                </c:pt>
                <c:pt idx="537">
                  <c:v>47305</c:v>
                </c:pt>
                <c:pt idx="538">
                  <c:v>47403</c:v>
                </c:pt>
                <c:pt idx="539">
                  <c:v>47511</c:v>
                </c:pt>
                <c:pt idx="540">
                  <c:v>47609</c:v>
                </c:pt>
                <c:pt idx="541">
                  <c:v>47686</c:v>
                </c:pt>
                <c:pt idx="542">
                  <c:v>477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  <c:max val="44620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B$2:$B$544</c:f>
              <c:numCache>
                <c:formatCode>General</c:formatCode>
                <c:ptCount val="543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0</c:v>
                </c:pt>
                <c:pt idx="44">
                  <c:v>1258</c:v>
                </c:pt>
                <c:pt idx="45">
                  <c:v>1383</c:v>
                </c:pt>
                <c:pt idx="46">
                  <c:v>1460</c:v>
                </c:pt>
                <c:pt idx="47">
                  <c:v>1412</c:v>
                </c:pt>
                <c:pt idx="48">
                  <c:v>1586</c:v>
                </c:pt>
                <c:pt idx="49">
                  <c:v>1701</c:v>
                </c:pt>
                <c:pt idx="50">
                  <c:v>1980</c:v>
                </c:pt>
                <c:pt idx="51">
                  <c:v>2146</c:v>
                </c:pt>
                <c:pt idx="52">
                  <c:v>2439</c:v>
                </c:pt>
                <c:pt idx="53">
                  <c:v>2519</c:v>
                </c:pt>
                <c:pt idx="54">
                  <c:v>2565</c:v>
                </c:pt>
                <c:pt idx="55">
                  <c:v>2747</c:v>
                </c:pt>
                <c:pt idx="56">
                  <c:v>3091</c:v>
                </c:pt>
                <c:pt idx="57">
                  <c:v>3117</c:v>
                </c:pt>
                <c:pt idx="58">
                  <c:v>3563</c:v>
                </c:pt>
                <c:pt idx="59">
                  <c:v>3859</c:v>
                </c:pt>
                <c:pt idx="60">
                  <c:v>3948</c:v>
                </c:pt>
                <c:pt idx="61">
                  <c:v>3842</c:v>
                </c:pt>
                <c:pt idx="62">
                  <c:v>3909</c:v>
                </c:pt>
                <c:pt idx="63">
                  <c:v>3849</c:v>
                </c:pt>
                <c:pt idx="64">
                  <c:v>4062</c:v>
                </c:pt>
                <c:pt idx="65">
                  <c:v>4398</c:v>
                </c:pt>
                <c:pt idx="66">
                  <c:v>4262</c:v>
                </c:pt>
                <c:pt idx="67">
                  <c:v>3911</c:v>
                </c:pt>
                <c:pt idx="68">
                  <c:v>3831</c:v>
                </c:pt>
                <c:pt idx="69">
                  <c:v>3587</c:v>
                </c:pt>
                <c:pt idx="70">
                  <c:v>3464</c:v>
                </c:pt>
                <c:pt idx="71">
                  <c:v>3887</c:v>
                </c:pt>
                <c:pt idx="72">
                  <c:v>4269</c:v>
                </c:pt>
                <c:pt idx="73">
                  <c:v>4319</c:v>
                </c:pt>
                <c:pt idx="74">
                  <c:v>3978</c:v>
                </c:pt>
                <c:pt idx="75">
                  <c:v>3867</c:v>
                </c:pt>
                <c:pt idx="76">
                  <c:v>3885</c:v>
                </c:pt>
                <c:pt idx="77">
                  <c:v>3665</c:v>
                </c:pt>
                <c:pt idx="78">
                  <c:v>3855</c:v>
                </c:pt>
                <c:pt idx="79">
                  <c:v>4006</c:v>
                </c:pt>
                <c:pt idx="80">
                  <c:v>4065</c:v>
                </c:pt>
                <c:pt idx="81">
                  <c:v>3682</c:v>
                </c:pt>
                <c:pt idx="82">
                  <c:v>3408</c:v>
                </c:pt>
                <c:pt idx="83">
                  <c:v>3538</c:v>
                </c:pt>
                <c:pt idx="84">
                  <c:v>3249</c:v>
                </c:pt>
                <c:pt idx="85">
                  <c:v>3247</c:v>
                </c:pt>
                <c:pt idx="86">
                  <c:v>3340</c:v>
                </c:pt>
                <c:pt idx="87">
                  <c:v>3103</c:v>
                </c:pt>
                <c:pt idx="88">
                  <c:v>3070</c:v>
                </c:pt>
                <c:pt idx="89">
                  <c:v>2814</c:v>
                </c:pt>
                <c:pt idx="90">
                  <c:v>2715</c:v>
                </c:pt>
                <c:pt idx="91">
                  <c:v>2530</c:v>
                </c:pt>
                <c:pt idx="92">
                  <c:v>2563</c:v>
                </c:pt>
                <c:pt idx="93">
                  <c:v>2621</c:v>
                </c:pt>
                <c:pt idx="94">
                  <c:v>2513</c:v>
                </c:pt>
                <c:pt idx="95">
                  <c:v>2343</c:v>
                </c:pt>
                <c:pt idx="96">
                  <c:v>2191</c:v>
                </c:pt>
                <c:pt idx="97">
                  <c:v>2144</c:v>
                </c:pt>
                <c:pt idx="98">
                  <c:v>2000</c:v>
                </c:pt>
                <c:pt idx="99">
                  <c:v>2054</c:v>
                </c:pt>
                <c:pt idx="100">
                  <c:v>2106</c:v>
                </c:pt>
                <c:pt idx="101">
                  <c:v>2096</c:v>
                </c:pt>
                <c:pt idx="102">
                  <c:v>2000</c:v>
                </c:pt>
                <c:pt idx="103">
                  <c:v>1953</c:v>
                </c:pt>
                <c:pt idx="104">
                  <c:v>1963</c:v>
                </c:pt>
                <c:pt idx="105">
                  <c:v>1943</c:v>
                </c:pt>
                <c:pt idx="106">
                  <c:v>1944</c:v>
                </c:pt>
                <c:pt idx="107">
                  <c:v>1949</c:v>
                </c:pt>
                <c:pt idx="108">
                  <c:v>2000</c:v>
                </c:pt>
                <c:pt idx="109">
                  <c:v>1871</c:v>
                </c:pt>
                <c:pt idx="110">
                  <c:v>1806</c:v>
                </c:pt>
                <c:pt idx="111">
                  <c:v>1856</c:v>
                </c:pt>
                <c:pt idx="112">
                  <c:v>1870</c:v>
                </c:pt>
                <c:pt idx="113">
                  <c:v>1894</c:v>
                </c:pt>
                <c:pt idx="114">
                  <c:v>1858</c:v>
                </c:pt>
                <c:pt idx="115">
                  <c:v>1756</c:v>
                </c:pt>
                <c:pt idx="116">
                  <c:v>1731</c:v>
                </c:pt>
                <c:pt idx="117">
                  <c:v>1730</c:v>
                </c:pt>
                <c:pt idx="118">
                  <c:v>1776</c:v>
                </c:pt>
                <c:pt idx="119">
                  <c:v>1824</c:v>
                </c:pt>
                <c:pt idx="120">
                  <c:v>1927</c:v>
                </c:pt>
                <c:pt idx="121">
                  <c:v>2010</c:v>
                </c:pt>
                <c:pt idx="122">
                  <c:v>1877</c:v>
                </c:pt>
                <c:pt idx="123">
                  <c:v>1844</c:v>
                </c:pt>
                <c:pt idx="124">
                  <c:v>1679</c:v>
                </c:pt>
                <c:pt idx="125">
                  <c:v>1910</c:v>
                </c:pt>
                <c:pt idx="126">
                  <c:v>2002</c:v>
                </c:pt>
                <c:pt idx="127">
                  <c:v>2091</c:v>
                </c:pt>
                <c:pt idx="128">
                  <c:v>2236</c:v>
                </c:pt>
                <c:pt idx="129">
                  <c:v>2240</c:v>
                </c:pt>
                <c:pt idx="130">
                  <c:v>2109</c:v>
                </c:pt>
                <c:pt idx="131">
                  <c:v>1965</c:v>
                </c:pt>
                <c:pt idx="132">
                  <c:v>2111</c:v>
                </c:pt>
                <c:pt idx="133">
                  <c:v>2175</c:v>
                </c:pt>
                <c:pt idx="134">
                  <c:v>2277</c:v>
                </c:pt>
                <c:pt idx="135">
                  <c:v>2325</c:v>
                </c:pt>
                <c:pt idx="136">
                  <c:v>2244</c:v>
                </c:pt>
                <c:pt idx="137">
                  <c:v>2049</c:v>
                </c:pt>
                <c:pt idx="138">
                  <c:v>1895</c:v>
                </c:pt>
                <c:pt idx="139">
                  <c:v>1840</c:v>
                </c:pt>
                <c:pt idx="140">
                  <c:v>1728</c:v>
                </c:pt>
                <c:pt idx="141">
                  <c:v>1810</c:v>
                </c:pt>
                <c:pt idx="142">
                  <c:v>1882</c:v>
                </c:pt>
                <c:pt idx="143">
                  <c:v>1755</c:v>
                </c:pt>
                <c:pt idx="144">
                  <c:v>1684</c:v>
                </c:pt>
                <c:pt idx="145">
                  <c:v>1585</c:v>
                </c:pt>
                <c:pt idx="146">
                  <c:v>1547</c:v>
                </c:pt>
                <c:pt idx="147">
                  <c:v>1492</c:v>
                </c:pt>
                <c:pt idx="148">
                  <c:v>1543</c:v>
                </c:pt>
                <c:pt idx="149">
                  <c:v>1580</c:v>
                </c:pt>
                <c:pt idx="150">
                  <c:v>1438</c:v>
                </c:pt>
                <c:pt idx="151">
                  <c:v>1396</c:v>
                </c:pt>
                <c:pt idx="152">
                  <c:v>1259</c:v>
                </c:pt>
                <c:pt idx="153">
                  <c:v>1288</c:v>
                </c:pt>
                <c:pt idx="154">
                  <c:v>1312</c:v>
                </c:pt>
                <c:pt idx="155">
                  <c:v>1368</c:v>
                </c:pt>
                <c:pt idx="156">
                  <c:v>1399</c:v>
                </c:pt>
                <c:pt idx="157">
                  <c:v>1370</c:v>
                </c:pt>
                <c:pt idx="158">
                  <c:v>1308</c:v>
                </c:pt>
                <c:pt idx="159">
                  <c:v>1253</c:v>
                </c:pt>
                <c:pt idx="160">
                  <c:v>1269</c:v>
                </c:pt>
                <c:pt idx="161">
                  <c:v>1262</c:v>
                </c:pt>
                <c:pt idx="162">
                  <c:v>1302</c:v>
                </c:pt>
                <c:pt idx="163">
                  <c:v>1352</c:v>
                </c:pt>
                <c:pt idx="164">
                  <c:v>1313</c:v>
                </c:pt>
                <c:pt idx="165">
                  <c:v>1192</c:v>
                </c:pt>
                <c:pt idx="166">
                  <c:v>1102</c:v>
                </c:pt>
                <c:pt idx="167">
                  <c:v>1080</c:v>
                </c:pt>
                <c:pt idx="168">
                  <c:v>997</c:v>
                </c:pt>
                <c:pt idx="169">
                  <c:v>975</c:v>
                </c:pt>
                <c:pt idx="170">
                  <c:v>992</c:v>
                </c:pt>
                <c:pt idx="171">
                  <c:v>931</c:v>
                </c:pt>
                <c:pt idx="172">
                  <c:v>870</c:v>
                </c:pt>
                <c:pt idx="173">
                  <c:v>800</c:v>
                </c:pt>
                <c:pt idx="174">
                  <c:v>844</c:v>
                </c:pt>
                <c:pt idx="175">
                  <c:v>817</c:v>
                </c:pt>
                <c:pt idx="176">
                  <c:v>827</c:v>
                </c:pt>
                <c:pt idx="177">
                  <c:v>857</c:v>
                </c:pt>
                <c:pt idx="178">
                  <c:v>843</c:v>
                </c:pt>
                <c:pt idx="179">
                  <c:v>811</c:v>
                </c:pt>
                <c:pt idx="180">
                  <c:v>790</c:v>
                </c:pt>
                <c:pt idx="181">
                  <c:v>839</c:v>
                </c:pt>
                <c:pt idx="182">
                  <c:v>805</c:v>
                </c:pt>
                <c:pt idx="183">
                  <c:v>813</c:v>
                </c:pt>
                <c:pt idx="184">
                  <c:v>806</c:v>
                </c:pt>
                <c:pt idx="185">
                  <c:v>739</c:v>
                </c:pt>
                <c:pt idx="186">
                  <c:v>710</c:v>
                </c:pt>
                <c:pt idx="187">
                  <c:v>667</c:v>
                </c:pt>
                <c:pt idx="188">
                  <c:v>660</c:v>
                </c:pt>
                <c:pt idx="189">
                  <c:v>710</c:v>
                </c:pt>
                <c:pt idx="190">
                  <c:v>755</c:v>
                </c:pt>
                <c:pt idx="191">
                  <c:v>755</c:v>
                </c:pt>
                <c:pt idx="192">
                  <c:v>784</c:v>
                </c:pt>
                <c:pt idx="193">
                  <c:v>781</c:v>
                </c:pt>
                <c:pt idx="194">
                  <c:v>782</c:v>
                </c:pt>
                <c:pt idx="195">
                  <c:v>808</c:v>
                </c:pt>
                <c:pt idx="196">
                  <c:v>744</c:v>
                </c:pt>
                <c:pt idx="197">
                  <c:v>727</c:v>
                </c:pt>
                <c:pt idx="198">
                  <c:v>712</c:v>
                </c:pt>
                <c:pt idx="199">
                  <c:v>712</c:v>
                </c:pt>
                <c:pt idx="200">
                  <c:v>693</c:v>
                </c:pt>
                <c:pt idx="201">
                  <c:v>692</c:v>
                </c:pt>
                <c:pt idx="202">
                  <c:v>696</c:v>
                </c:pt>
                <c:pt idx="203">
                  <c:v>699</c:v>
                </c:pt>
                <c:pt idx="204">
                  <c:v>665</c:v>
                </c:pt>
                <c:pt idx="205">
                  <c:v>661</c:v>
                </c:pt>
                <c:pt idx="206">
                  <c:v>643</c:v>
                </c:pt>
                <c:pt idx="207">
                  <c:v>609</c:v>
                </c:pt>
                <c:pt idx="208">
                  <c:v>608</c:v>
                </c:pt>
                <c:pt idx="209">
                  <c:v>622</c:v>
                </c:pt>
                <c:pt idx="210">
                  <c:v>591</c:v>
                </c:pt>
                <c:pt idx="211">
                  <c:v>584</c:v>
                </c:pt>
                <c:pt idx="212">
                  <c:v>569</c:v>
                </c:pt>
                <c:pt idx="213">
                  <c:v>540</c:v>
                </c:pt>
                <c:pt idx="214">
                  <c:v>530</c:v>
                </c:pt>
                <c:pt idx="215">
                  <c:v>528</c:v>
                </c:pt>
                <c:pt idx="216">
                  <c:v>526</c:v>
                </c:pt>
                <c:pt idx="217">
                  <c:v>496</c:v>
                </c:pt>
                <c:pt idx="218">
                  <c:v>494</c:v>
                </c:pt>
                <c:pt idx="219">
                  <c:v>479</c:v>
                </c:pt>
                <c:pt idx="220">
                  <c:v>449</c:v>
                </c:pt>
                <c:pt idx="221">
                  <c:v>444</c:v>
                </c:pt>
                <c:pt idx="222">
                  <c:v>443</c:v>
                </c:pt>
                <c:pt idx="223">
                  <c:v>443</c:v>
                </c:pt>
                <c:pt idx="224">
                  <c:v>433</c:v>
                </c:pt>
                <c:pt idx="225">
                  <c:v>412</c:v>
                </c:pt>
                <c:pt idx="226">
                  <c:v>401</c:v>
                </c:pt>
                <c:pt idx="227">
                  <c:v>385</c:v>
                </c:pt>
                <c:pt idx="228">
                  <c:v>383</c:v>
                </c:pt>
                <c:pt idx="229">
                  <c:v>385</c:v>
                </c:pt>
                <c:pt idx="230">
                  <c:v>390</c:v>
                </c:pt>
                <c:pt idx="231">
                  <c:v>385</c:v>
                </c:pt>
                <c:pt idx="232">
                  <c:v>377</c:v>
                </c:pt>
                <c:pt idx="233">
                  <c:v>380</c:v>
                </c:pt>
                <c:pt idx="234">
                  <c:v>384</c:v>
                </c:pt>
                <c:pt idx="235">
                  <c:v>375</c:v>
                </c:pt>
                <c:pt idx="236">
                  <c:v>374</c:v>
                </c:pt>
                <c:pt idx="237">
                  <c:v>375</c:v>
                </c:pt>
                <c:pt idx="238">
                  <c:v>374</c:v>
                </c:pt>
                <c:pt idx="239">
                  <c:v>372</c:v>
                </c:pt>
                <c:pt idx="240">
                  <c:v>371</c:v>
                </c:pt>
                <c:pt idx="241">
                  <c:v>371</c:v>
                </c:pt>
                <c:pt idx="242">
                  <c:v>365</c:v>
                </c:pt>
                <c:pt idx="243">
                  <c:v>365</c:v>
                </c:pt>
                <c:pt idx="244">
                  <c:v>367</c:v>
                </c:pt>
                <c:pt idx="245">
                  <c:v>362</c:v>
                </c:pt>
                <c:pt idx="246">
                  <c:v>359</c:v>
                </c:pt>
                <c:pt idx="247">
                  <c:v>352</c:v>
                </c:pt>
                <c:pt idx="248">
                  <c:v>351</c:v>
                </c:pt>
                <c:pt idx="249">
                  <c:v>345</c:v>
                </c:pt>
                <c:pt idx="250">
                  <c:v>348</c:v>
                </c:pt>
                <c:pt idx="251">
                  <c:v>352</c:v>
                </c:pt>
                <c:pt idx="252">
                  <c:v>352</c:v>
                </c:pt>
                <c:pt idx="253">
                  <c:v>349</c:v>
                </c:pt>
                <c:pt idx="254">
                  <c:v>349</c:v>
                </c:pt>
                <c:pt idx="255">
                  <c:v>349</c:v>
                </c:pt>
                <c:pt idx="256">
                  <c:v>345</c:v>
                </c:pt>
                <c:pt idx="257">
                  <c:v>344</c:v>
                </c:pt>
                <c:pt idx="258">
                  <c:v>346</c:v>
                </c:pt>
                <c:pt idx="259">
                  <c:v>342</c:v>
                </c:pt>
                <c:pt idx="260">
                  <c:v>344</c:v>
                </c:pt>
                <c:pt idx="261">
                  <c:v>341</c:v>
                </c:pt>
                <c:pt idx="262">
                  <c:v>341</c:v>
                </c:pt>
                <c:pt idx="263">
                  <c:v>340</c:v>
                </c:pt>
                <c:pt idx="264">
                  <c:v>339</c:v>
                </c:pt>
                <c:pt idx="265">
                  <c:v>340</c:v>
                </c:pt>
                <c:pt idx="266">
                  <c:v>339</c:v>
                </c:pt>
                <c:pt idx="267">
                  <c:v>338</c:v>
                </c:pt>
                <c:pt idx="268">
                  <c:v>336</c:v>
                </c:pt>
                <c:pt idx="269">
                  <c:v>335</c:v>
                </c:pt>
                <c:pt idx="270">
                  <c:v>335</c:v>
                </c:pt>
                <c:pt idx="271">
                  <c:v>332</c:v>
                </c:pt>
                <c:pt idx="272">
                  <c:v>332</c:v>
                </c:pt>
                <c:pt idx="273">
                  <c:v>330</c:v>
                </c:pt>
                <c:pt idx="274">
                  <c:v>333</c:v>
                </c:pt>
                <c:pt idx="275">
                  <c:v>329</c:v>
                </c:pt>
                <c:pt idx="276">
                  <c:v>325</c:v>
                </c:pt>
                <c:pt idx="277">
                  <c:v>324</c:v>
                </c:pt>
                <c:pt idx="278">
                  <c:v>324</c:v>
                </c:pt>
                <c:pt idx="279">
                  <c:v>325</c:v>
                </c:pt>
                <c:pt idx="280">
                  <c:v>325</c:v>
                </c:pt>
                <c:pt idx="281">
                  <c:v>324</c:v>
                </c:pt>
                <c:pt idx="282">
                  <c:v>323</c:v>
                </c:pt>
                <c:pt idx="283">
                  <c:v>324</c:v>
                </c:pt>
                <c:pt idx="284">
                  <c:v>321</c:v>
                </c:pt>
                <c:pt idx="285">
                  <c:v>321</c:v>
                </c:pt>
                <c:pt idx="286">
                  <c:v>321</c:v>
                </c:pt>
                <c:pt idx="287">
                  <c:v>321</c:v>
                </c:pt>
                <c:pt idx="288">
                  <c:v>321</c:v>
                </c:pt>
                <c:pt idx="289">
                  <c:v>321</c:v>
                </c:pt>
                <c:pt idx="290">
                  <c:v>321</c:v>
                </c:pt>
                <c:pt idx="291">
                  <c:v>321</c:v>
                </c:pt>
                <c:pt idx="292">
                  <c:v>321</c:v>
                </c:pt>
                <c:pt idx="293">
                  <c:v>321</c:v>
                </c:pt>
                <c:pt idx="294">
                  <c:v>321</c:v>
                </c:pt>
                <c:pt idx="295">
                  <c:v>322</c:v>
                </c:pt>
                <c:pt idx="296">
                  <c:v>322</c:v>
                </c:pt>
                <c:pt idx="297">
                  <c:v>321</c:v>
                </c:pt>
                <c:pt idx="298">
                  <c:v>321</c:v>
                </c:pt>
                <c:pt idx="299">
                  <c:v>321</c:v>
                </c:pt>
                <c:pt idx="300">
                  <c:v>321</c:v>
                </c:pt>
                <c:pt idx="301">
                  <c:v>321</c:v>
                </c:pt>
                <c:pt idx="302">
                  <c:v>320</c:v>
                </c:pt>
                <c:pt idx="303">
                  <c:v>321</c:v>
                </c:pt>
                <c:pt idx="304">
                  <c:v>319</c:v>
                </c:pt>
                <c:pt idx="305">
                  <c:v>319</c:v>
                </c:pt>
                <c:pt idx="306">
                  <c:v>320</c:v>
                </c:pt>
                <c:pt idx="307">
                  <c:v>320</c:v>
                </c:pt>
                <c:pt idx="308">
                  <c:v>320</c:v>
                </c:pt>
                <c:pt idx="309">
                  <c:v>320</c:v>
                </c:pt>
                <c:pt idx="310">
                  <c:v>319</c:v>
                </c:pt>
                <c:pt idx="311">
                  <c:v>319</c:v>
                </c:pt>
                <c:pt idx="312">
                  <c:v>319</c:v>
                </c:pt>
                <c:pt idx="313">
                  <c:v>319</c:v>
                </c:pt>
                <c:pt idx="314">
                  <c:v>319</c:v>
                </c:pt>
                <c:pt idx="315">
                  <c:v>319</c:v>
                </c:pt>
                <c:pt idx="316">
                  <c:v>319</c:v>
                </c:pt>
                <c:pt idx="317">
                  <c:v>319</c:v>
                </c:pt>
                <c:pt idx="318">
                  <c:v>319</c:v>
                </c:pt>
                <c:pt idx="319">
                  <c:v>319</c:v>
                </c:pt>
                <c:pt idx="320">
                  <c:v>319</c:v>
                </c:pt>
                <c:pt idx="321">
                  <c:v>319</c:v>
                </c:pt>
                <c:pt idx="322">
                  <c:v>318</c:v>
                </c:pt>
                <c:pt idx="323">
                  <c:v>318</c:v>
                </c:pt>
                <c:pt idx="324">
                  <c:v>318</c:v>
                </c:pt>
                <c:pt idx="325">
                  <c:v>318</c:v>
                </c:pt>
                <c:pt idx="326">
                  <c:v>319</c:v>
                </c:pt>
                <c:pt idx="327">
                  <c:v>318</c:v>
                </c:pt>
                <c:pt idx="328">
                  <c:v>318</c:v>
                </c:pt>
                <c:pt idx="329">
                  <c:v>318</c:v>
                </c:pt>
                <c:pt idx="330">
                  <c:v>318</c:v>
                </c:pt>
                <c:pt idx="331">
                  <c:v>318</c:v>
                </c:pt>
                <c:pt idx="332">
                  <c:v>318</c:v>
                </c:pt>
                <c:pt idx="333">
                  <c:v>318</c:v>
                </c:pt>
                <c:pt idx="334">
                  <c:v>318</c:v>
                </c:pt>
                <c:pt idx="335">
                  <c:v>318</c:v>
                </c:pt>
                <c:pt idx="336">
                  <c:v>317</c:v>
                </c:pt>
                <c:pt idx="337">
                  <c:v>317</c:v>
                </c:pt>
                <c:pt idx="338">
                  <c:v>317</c:v>
                </c:pt>
                <c:pt idx="339">
                  <c:v>317</c:v>
                </c:pt>
                <c:pt idx="340">
                  <c:v>317</c:v>
                </c:pt>
                <c:pt idx="341">
                  <c:v>317</c:v>
                </c:pt>
                <c:pt idx="342">
                  <c:v>317</c:v>
                </c:pt>
                <c:pt idx="343">
                  <c:v>317</c:v>
                </c:pt>
                <c:pt idx="344">
                  <c:v>317</c:v>
                </c:pt>
                <c:pt idx="345">
                  <c:v>317</c:v>
                </c:pt>
                <c:pt idx="346">
                  <c:v>317</c:v>
                </c:pt>
                <c:pt idx="347">
                  <c:v>317</c:v>
                </c:pt>
                <c:pt idx="348">
                  <c:v>317</c:v>
                </c:pt>
                <c:pt idx="349">
                  <c:v>318</c:v>
                </c:pt>
                <c:pt idx="350">
                  <c:v>319</c:v>
                </c:pt>
                <c:pt idx="351">
                  <c:v>319</c:v>
                </c:pt>
                <c:pt idx="352">
                  <c:v>320</c:v>
                </c:pt>
                <c:pt idx="353">
                  <c:v>319</c:v>
                </c:pt>
                <c:pt idx="354">
                  <c:v>319</c:v>
                </c:pt>
                <c:pt idx="355">
                  <c:v>319</c:v>
                </c:pt>
                <c:pt idx="356">
                  <c:v>321</c:v>
                </c:pt>
                <c:pt idx="357">
                  <c:v>321</c:v>
                </c:pt>
                <c:pt idx="358">
                  <c:v>321</c:v>
                </c:pt>
                <c:pt idx="359">
                  <c:v>321</c:v>
                </c:pt>
                <c:pt idx="360">
                  <c:v>321</c:v>
                </c:pt>
                <c:pt idx="361">
                  <c:v>320</c:v>
                </c:pt>
                <c:pt idx="362">
                  <c:v>320</c:v>
                </c:pt>
                <c:pt idx="363">
                  <c:v>320</c:v>
                </c:pt>
                <c:pt idx="364">
                  <c:v>320</c:v>
                </c:pt>
                <c:pt idx="365">
                  <c:v>321</c:v>
                </c:pt>
                <c:pt idx="366">
                  <c:v>325</c:v>
                </c:pt>
                <c:pt idx="367">
                  <c:v>327</c:v>
                </c:pt>
                <c:pt idx="368">
                  <c:v>328</c:v>
                </c:pt>
                <c:pt idx="369">
                  <c:v>327</c:v>
                </c:pt>
                <c:pt idx="370">
                  <c:v>331</c:v>
                </c:pt>
                <c:pt idx="371">
                  <c:v>328</c:v>
                </c:pt>
                <c:pt idx="372">
                  <c:v>328</c:v>
                </c:pt>
                <c:pt idx="373">
                  <c:v>328</c:v>
                </c:pt>
                <c:pt idx="374">
                  <c:v>328</c:v>
                </c:pt>
                <c:pt idx="375">
                  <c:v>328</c:v>
                </c:pt>
                <c:pt idx="376">
                  <c:v>328</c:v>
                </c:pt>
                <c:pt idx="377">
                  <c:v>329</c:v>
                </c:pt>
                <c:pt idx="378">
                  <c:v>329</c:v>
                </c:pt>
                <c:pt idx="379">
                  <c:v>329</c:v>
                </c:pt>
                <c:pt idx="380">
                  <c:v>328</c:v>
                </c:pt>
                <c:pt idx="381">
                  <c:v>326</c:v>
                </c:pt>
                <c:pt idx="382">
                  <c:v>326</c:v>
                </c:pt>
                <c:pt idx="383">
                  <c:v>326</c:v>
                </c:pt>
                <c:pt idx="384">
                  <c:v>327</c:v>
                </c:pt>
                <c:pt idx="385">
                  <c:v>324</c:v>
                </c:pt>
                <c:pt idx="386">
                  <c:v>324</c:v>
                </c:pt>
                <c:pt idx="387">
                  <c:v>322</c:v>
                </c:pt>
                <c:pt idx="388">
                  <c:v>322</c:v>
                </c:pt>
                <c:pt idx="389">
                  <c:v>322</c:v>
                </c:pt>
                <c:pt idx="390">
                  <c:v>322</c:v>
                </c:pt>
                <c:pt idx="391">
                  <c:v>324</c:v>
                </c:pt>
                <c:pt idx="392">
                  <c:v>322</c:v>
                </c:pt>
                <c:pt idx="393">
                  <c:v>323</c:v>
                </c:pt>
                <c:pt idx="394">
                  <c:v>323</c:v>
                </c:pt>
                <c:pt idx="395">
                  <c:v>324</c:v>
                </c:pt>
                <c:pt idx="396">
                  <c:v>325</c:v>
                </c:pt>
                <c:pt idx="397">
                  <c:v>326</c:v>
                </c:pt>
                <c:pt idx="398">
                  <c:v>328</c:v>
                </c:pt>
                <c:pt idx="399">
                  <c:v>330</c:v>
                </c:pt>
                <c:pt idx="400">
                  <c:v>338</c:v>
                </c:pt>
                <c:pt idx="401">
                  <c:v>337</c:v>
                </c:pt>
                <c:pt idx="402">
                  <c:v>362</c:v>
                </c:pt>
                <c:pt idx="403">
                  <c:v>362</c:v>
                </c:pt>
                <c:pt idx="404">
                  <c:v>362</c:v>
                </c:pt>
                <c:pt idx="405">
                  <c:v>363</c:v>
                </c:pt>
                <c:pt idx="406">
                  <c:v>364</c:v>
                </c:pt>
                <c:pt idx="407">
                  <c:v>382</c:v>
                </c:pt>
                <c:pt idx="408">
                  <c:v>384</c:v>
                </c:pt>
                <c:pt idx="409">
                  <c:v>384</c:v>
                </c:pt>
                <c:pt idx="410">
                  <c:v>384</c:v>
                </c:pt>
                <c:pt idx="411">
                  <c:v>383</c:v>
                </c:pt>
                <c:pt idx="412">
                  <c:v>387</c:v>
                </c:pt>
                <c:pt idx="413">
                  <c:v>388</c:v>
                </c:pt>
                <c:pt idx="414">
                  <c:v>382</c:v>
                </c:pt>
                <c:pt idx="415">
                  <c:v>382</c:v>
                </c:pt>
                <c:pt idx="416">
                  <c:v>365</c:v>
                </c:pt>
                <c:pt idx="417">
                  <c:v>364</c:v>
                </c:pt>
                <c:pt idx="418">
                  <c:v>362</c:v>
                </c:pt>
                <c:pt idx="419">
                  <c:v>375</c:v>
                </c:pt>
                <c:pt idx="420">
                  <c:v>383</c:v>
                </c:pt>
                <c:pt idx="421">
                  <c:v>391</c:v>
                </c:pt>
                <c:pt idx="422">
                  <c:v>375</c:v>
                </c:pt>
                <c:pt idx="423">
                  <c:v>393</c:v>
                </c:pt>
                <c:pt idx="424">
                  <c:v>396</c:v>
                </c:pt>
                <c:pt idx="425">
                  <c:v>405</c:v>
                </c:pt>
                <c:pt idx="426">
                  <c:v>440</c:v>
                </c:pt>
                <c:pt idx="427">
                  <c:v>452</c:v>
                </c:pt>
                <c:pt idx="428">
                  <c:v>456</c:v>
                </c:pt>
                <c:pt idx="429">
                  <c:v>504</c:v>
                </c:pt>
                <c:pt idx="430">
                  <c:v>523</c:v>
                </c:pt>
                <c:pt idx="431">
                  <c:v>517</c:v>
                </c:pt>
                <c:pt idx="432">
                  <c:v>516</c:v>
                </c:pt>
                <c:pt idx="433">
                  <c:v>541</c:v>
                </c:pt>
                <c:pt idx="434">
                  <c:v>556</c:v>
                </c:pt>
                <c:pt idx="435">
                  <c:v>563</c:v>
                </c:pt>
                <c:pt idx="436">
                  <c:v>571</c:v>
                </c:pt>
                <c:pt idx="437">
                  <c:v>582</c:v>
                </c:pt>
                <c:pt idx="438">
                  <c:v>579</c:v>
                </c:pt>
                <c:pt idx="439">
                  <c:v>585</c:v>
                </c:pt>
                <c:pt idx="440">
                  <c:v>614</c:v>
                </c:pt>
                <c:pt idx="441">
                  <c:v>616</c:v>
                </c:pt>
                <c:pt idx="442">
                  <c:v>620</c:v>
                </c:pt>
                <c:pt idx="443">
                  <c:v>650</c:v>
                </c:pt>
                <c:pt idx="444">
                  <c:v>705</c:v>
                </c:pt>
                <c:pt idx="445">
                  <c:v>708</c:v>
                </c:pt>
                <c:pt idx="446">
                  <c:v>705</c:v>
                </c:pt>
                <c:pt idx="447">
                  <c:v>747</c:v>
                </c:pt>
                <c:pt idx="448">
                  <c:v>732</c:v>
                </c:pt>
                <c:pt idx="449">
                  <c:v>741</c:v>
                </c:pt>
                <c:pt idx="450">
                  <c:v>741</c:v>
                </c:pt>
                <c:pt idx="451">
                  <c:v>774</c:v>
                </c:pt>
                <c:pt idx="452">
                  <c:v>759</c:v>
                </c:pt>
                <c:pt idx="453">
                  <c:v>760</c:v>
                </c:pt>
                <c:pt idx="454">
                  <c:v>792</c:v>
                </c:pt>
                <c:pt idx="455">
                  <c:v>771</c:v>
                </c:pt>
                <c:pt idx="456">
                  <c:v>744</c:v>
                </c:pt>
                <c:pt idx="457">
                  <c:v>747</c:v>
                </c:pt>
                <c:pt idx="458">
                  <c:v>641</c:v>
                </c:pt>
                <c:pt idx="459">
                  <c:v>663</c:v>
                </c:pt>
                <c:pt idx="460">
                  <c:v>643</c:v>
                </c:pt>
                <c:pt idx="461">
                  <c:v>663</c:v>
                </c:pt>
                <c:pt idx="462">
                  <c:v>638</c:v>
                </c:pt>
                <c:pt idx="463">
                  <c:v>629</c:v>
                </c:pt>
                <c:pt idx="464">
                  <c:v>618</c:v>
                </c:pt>
                <c:pt idx="465">
                  <c:v>576</c:v>
                </c:pt>
                <c:pt idx="466">
                  <c:v>561</c:v>
                </c:pt>
                <c:pt idx="467">
                  <c:v>558</c:v>
                </c:pt>
                <c:pt idx="468">
                  <c:v>565</c:v>
                </c:pt>
                <c:pt idx="469">
                  <c:v>553</c:v>
                </c:pt>
                <c:pt idx="470">
                  <c:v>545</c:v>
                </c:pt>
                <c:pt idx="471">
                  <c:v>521</c:v>
                </c:pt>
                <c:pt idx="472">
                  <c:v>504</c:v>
                </c:pt>
                <c:pt idx="473">
                  <c:v>456</c:v>
                </c:pt>
                <c:pt idx="474">
                  <c:v>457</c:v>
                </c:pt>
                <c:pt idx="475">
                  <c:v>469</c:v>
                </c:pt>
                <c:pt idx="476">
                  <c:v>443</c:v>
                </c:pt>
                <c:pt idx="477">
                  <c:v>424</c:v>
                </c:pt>
                <c:pt idx="478">
                  <c:v>393</c:v>
                </c:pt>
                <c:pt idx="479">
                  <c:v>371</c:v>
                </c:pt>
                <c:pt idx="480">
                  <c:v>360</c:v>
                </c:pt>
                <c:pt idx="481">
                  <c:v>355</c:v>
                </c:pt>
                <c:pt idx="482">
                  <c:v>364</c:v>
                </c:pt>
                <c:pt idx="483">
                  <c:v>339</c:v>
                </c:pt>
                <c:pt idx="484">
                  <c:v>333</c:v>
                </c:pt>
                <c:pt idx="485">
                  <c:v>318</c:v>
                </c:pt>
                <c:pt idx="486">
                  <c:v>311</c:v>
                </c:pt>
                <c:pt idx="487">
                  <c:v>302</c:v>
                </c:pt>
                <c:pt idx="488">
                  <c:v>298</c:v>
                </c:pt>
                <c:pt idx="489">
                  <c:v>300</c:v>
                </c:pt>
                <c:pt idx="490">
                  <c:v>287</c:v>
                </c:pt>
                <c:pt idx="491">
                  <c:v>286</c:v>
                </c:pt>
                <c:pt idx="492">
                  <c:v>285</c:v>
                </c:pt>
                <c:pt idx="493">
                  <c:v>282</c:v>
                </c:pt>
                <c:pt idx="494">
                  <c:v>280</c:v>
                </c:pt>
                <c:pt idx="495">
                  <c:v>279</c:v>
                </c:pt>
                <c:pt idx="496">
                  <c:v>278</c:v>
                </c:pt>
                <c:pt idx="497">
                  <c:v>270</c:v>
                </c:pt>
                <c:pt idx="498">
                  <c:v>271</c:v>
                </c:pt>
                <c:pt idx="499">
                  <c:v>268</c:v>
                </c:pt>
                <c:pt idx="500">
                  <c:v>270</c:v>
                </c:pt>
                <c:pt idx="501">
                  <c:v>267</c:v>
                </c:pt>
                <c:pt idx="502">
                  <c:v>270</c:v>
                </c:pt>
                <c:pt idx="503">
                  <c:v>290</c:v>
                </c:pt>
                <c:pt idx="504">
                  <c:v>298</c:v>
                </c:pt>
                <c:pt idx="505">
                  <c:v>297</c:v>
                </c:pt>
                <c:pt idx="506">
                  <c:v>313</c:v>
                </c:pt>
                <c:pt idx="507">
                  <c:v>316</c:v>
                </c:pt>
                <c:pt idx="508">
                  <c:v>336</c:v>
                </c:pt>
                <c:pt idx="509">
                  <c:v>340</c:v>
                </c:pt>
                <c:pt idx="510">
                  <c:v>376</c:v>
                </c:pt>
                <c:pt idx="511">
                  <c:v>412</c:v>
                </c:pt>
                <c:pt idx="512">
                  <c:v>449</c:v>
                </c:pt>
                <c:pt idx="513">
                  <c:v>470</c:v>
                </c:pt>
                <c:pt idx="514">
                  <c:v>508</c:v>
                </c:pt>
                <c:pt idx="515">
                  <c:v>504</c:v>
                </c:pt>
                <c:pt idx="516">
                  <c:v>500</c:v>
                </c:pt>
                <c:pt idx="517">
                  <c:v>525</c:v>
                </c:pt>
                <c:pt idx="518">
                  <c:v>543</c:v>
                </c:pt>
                <c:pt idx="519">
                  <c:v>567</c:v>
                </c:pt>
                <c:pt idx="520">
                  <c:v>579</c:v>
                </c:pt>
                <c:pt idx="521">
                  <c:v>599</c:v>
                </c:pt>
                <c:pt idx="522">
                  <c:v>561</c:v>
                </c:pt>
                <c:pt idx="523">
                  <c:v>536</c:v>
                </c:pt>
                <c:pt idx="524">
                  <c:v>570</c:v>
                </c:pt>
                <c:pt idx="525">
                  <c:v>567</c:v>
                </c:pt>
                <c:pt idx="526">
                  <c:v>585</c:v>
                </c:pt>
                <c:pt idx="527">
                  <c:v>617</c:v>
                </c:pt>
                <c:pt idx="528">
                  <c:v>634</c:v>
                </c:pt>
                <c:pt idx="529">
                  <c:v>581</c:v>
                </c:pt>
                <c:pt idx="530">
                  <c:v>559</c:v>
                </c:pt>
                <c:pt idx="531">
                  <c:v>579</c:v>
                </c:pt>
                <c:pt idx="532">
                  <c:v>566</c:v>
                </c:pt>
                <c:pt idx="533">
                  <c:v>605</c:v>
                </c:pt>
                <c:pt idx="534">
                  <c:v>664</c:v>
                </c:pt>
                <c:pt idx="535">
                  <c:v>606</c:v>
                </c:pt>
                <c:pt idx="536">
                  <c:v>541</c:v>
                </c:pt>
                <c:pt idx="537">
                  <c:v>524</c:v>
                </c:pt>
                <c:pt idx="538">
                  <c:v>491</c:v>
                </c:pt>
                <c:pt idx="539">
                  <c:v>426</c:v>
                </c:pt>
                <c:pt idx="540">
                  <c:v>449</c:v>
                </c:pt>
                <c:pt idx="541">
                  <c:v>444</c:v>
                </c:pt>
                <c:pt idx="542">
                  <c:v>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C$2:$C$544</c:f>
              <c:numCache>
                <c:formatCode>General</c:formatCode>
                <c:ptCount val="543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3</c:v>
                </c:pt>
                <c:pt idx="21">
                  <c:v>16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9</c:v>
                </c:pt>
                <c:pt idx="29">
                  <c:v>61</c:v>
                </c:pt>
                <c:pt idx="30">
                  <c:v>89</c:v>
                </c:pt>
                <c:pt idx="31">
                  <c:v>180</c:v>
                </c:pt>
                <c:pt idx="32">
                  <c:v>203</c:v>
                </c:pt>
                <c:pt idx="33">
                  <c:v>218</c:v>
                </c:pt>
                <c:pt idx="34">
                  <c:v>309</c:v>
                </c:pt>
                <c:pt idx="35">
                  <c:v>348</c:v>
                </c:pt>
                <c:pt idx="36">
                  <c:v>374</c:v>
                </c:pt>
                <c:pt idx="37">
                  <c:v>456</c:v>
                </c:pt>
                <c:pt idx="38">
                  <c:v>542</c:v>
                </c:pt>
                <c:pt idx="39">
                  <c:v>579</c:v>
                </c:pt>
                <c:pt idx="40">
                  <c:v>594</c:v>
                </c:pt>
                <c:pt idx="41">
                  <c:v>735</c:v>
                </c:pt>
                <c:pt idx="42">
                  <c:v>862</c:v>
                </c:pt>
                <c:pt idx="43">
                  <c:v>1035</c:v>
                </c:pt>
                <c:pt idx="44">
                  <c:v>1214</c:v>
                </c:pt>
                <c:pt idx="45">
                  <c:v>1384</c:v>
                </c:pt>
                <c:pt idx="46">
                  <c:v>1452</c:v>
                </c:pt>
                <c:pt idx="47">
                  <c:v>1447</c:v>
                </c:pt>
                <c:pt idx="48">
                  <c:v>1592</c:v>
                </c:pt>
                <c:pt idx="49">
                  <c:v>1739</c:v>
                </c:pt>
                <c:pt idx="50">
                  <c:v>1969</c:v>
                </c:pt>
                <c:pt idx="51">
                  <c:v>2130</c:v>
                </c:pt>
                <c:pt idx="52">
                  <c:v>2397</c:v>
                </c:pt>
                <c:pt idx="53">
                  <c:v>2470</c:v>
                </c:pt>
                <c:pt idx="54">
                  <c:v>2434</c:v>
                </c:pt>
                <c:pt idx="55">
                  <c:v>2603</c:v>
                </c:pt>
                <c:pt idx="56">
                  <c:v>2791</c:v>
                </c:pt>
                <c:pt idx="57">
                  <c:v>2805</c:v>
                </c:pt>
                <c:pt idx="58">
                  <c:v>3215</c:v>
                </c:pt>
                <c:pt idx="59">
                  <c:v>3360</c:v>
                </c:pt>
                <c:pt idx="60">
                  <c:v>3274</c:v>
                </c:pt>
                <c:pt idx="61">
                  <c:v>3115</c:v>
                </c:pt>
                <c:pt idx="62">
                  <c:v>3146</c:v>
                </c:pt>
                <c:pt idx="63">
                  <c:v>3079</c:v>
                </c:pt>
                <c:pt idx="64">
                  <c:v>3278</c:v>
                </c:pt>
                <c:pt idx="65">
                  <c:v>3461</c:v>
                </c:pt>
                <c:pt idx="66">
                  <c:v>3277</c:v>
                </c:pt>
                <c:pt idx="67">
                  <c:v>3027</c:v>
                </c:pt>
                <c:pt idx="68">
                  <c:v>2928</c:v>
                </c:pt>
                <c:pt idx="69">
                  <c:v>2783</c:v>
                </c:pt>
                <c:pt idx="70">
                  <c:v>2643</c:v>
                </c:pt>
                <c:pt idx="71">
                  <c:v>2770</c:v>
                </c:pt>
                <c:pt idx="72">
                  <c:v>2904</c:v>
                </c:pt>
                <c:pt idx="73">
                  <c:v>2809</c:v>
                </c:pt>
                <c:pt idx="74">
                  <c:v>2605</c:v>
                </c:pt>
                <c:pt idx="75">
                  <c:v>2362</c:v>
                </c:pt>
                <c:pt idx="76">
                  <c:v>2335</c:v>
                </c:pt>
                <c:pt idx="77">
                  <c:v>2179</c:v>
                </c:pt>
                <c:pt idx="78">
                  <c:v>2284</c:v>
                </c:pt>
                <c:pt idx="79">
                  <c:v>2364</c:v>
                </c:pt>
                <c:pt idx="80">
                  <c:v>2314</c:v>
                </c:pt>
                <c:pt idx="81">
                  <c:v>2061</c:v>
                </c:pt>
                <c:pt idx="82">
                  <c:v>1876</c:v>
                </c:pt>
                <c:pt idx="83">
                  <c:v>1863</c:v>
                </c:pt>
                <c:pt idx="84">
                  <c:v>1805</c:v>
                </c:pt>
                <c:pt idx="85">
                  <c:v>1829</c:v>
                </c:pt>
                <c:pt idx="86">
                  <c:v>1852</c:v>
                </c:pt>
                <c:pt idx="87">
                  <c:v>1809</c:v>
                </c:pt>
                <c:pt idx="88">
                  <c:v>1769</c:v>
                </c:pt>
                <c:pt idx="89">
                  <c:v>1624</c:v>
                </c:pt>
                <c:pt idx="90">
                  <c:v>1604</c:v>
                </c:pt>
                <c:pt idx="91">
                  <c:v>1599</c:v>
                </c:pt>
                <c:pt idx="92">
                  <c:v>1652</c:v>
                </c:pt>
                <c:pt idx="93">
                  <c:v>1694</c:v>
                </c:pt>
                <c:pt idx="94">
                  <c:v>1631</c:v>
                </c:pt>
                <c:pt idx="95">
                  <c:v>1569</c:v>
                </c:pt>
                <c:pt idx="96">
                  <c:v>1497</c:v>
                </c:pt>
                <c:pt idx="97">
                  <c:v>1556</c:v>
                </c:pt>
                <c:pt idx="98">
                  <c:v>1547</c:v>
                </c:pt>
                <c:pt idx="99">
                  <c:v>1588</c:v>
                </c:pt>
                <c:pt idx="100">
                  <c:v>1637</c:v>
                </c:pt>
                <c:pt idx="101">
                  <c:v>1618</c:v>
                </c:pt>
                <c:pt idx="102">
                  <c:v>1546</c:v>
                </c:pt>
                <c:pt idx="103">
                  <c:v>1507</c:v>
                </c:pt>
                <c:pt idx="104">
                  <c:v>1552</c:v>
                </c:pt>
                <c:pt idx="105">
                  <c:v>1556</c:v>
                </c:pt>
                <c:pt idx="106">
                  <c:v>1627</c:v>
                </c:pt>
                <c:pt idx="107">
                  <c:v>1662</c:v>
                </c:pt>
                <c:pt idx="108">
                  <c:v>1618</c:v>
                </c:pt>
                <c:pt idx="109">
                  <c:v>1567</c:v>
                </c:pt>
                <c:pt idx="110">
                  <c:v>1519</c:v>
                </c:pt>
                <c:pt idx="111">
                  <c:v>1626</c:v>
                </c:pt>
                <c:pt idx="112">
                  <c:v>1677</c:v>
                </c:pt>
                <c:pt idx="113">
                  <c:v>1773</c:v>
                </c:pt>
                <c:pt idx="114">
                  <c:v>1792</c:v>
                </c:pt>
                <c:pt idx="115">
                  <c:v>1744</c:v>
                </c:pt>
                <c:pt idx="116">
                  <c:v>1701</c:v>
                </c:pt>
                <c:pt idx="117">
                  <c:v>1672</c:v>
                </c:pt>
                <c:pt idx="118">
                  <c:v>1789</c:v>
                </c:pt>
                <c:pt idx="119">
                  <c:v>1877</c:v>
                </c:pt>
                <c:pt idx="120">
                  <c:v>1955</c:v>
                </c:pt>
                <c:pt idx="121">
                  <c:v>2029</c:v>
                </c:pt>
                <c:pt idx="122">
                  <c:v>1936</c:v>
                </c:pt>
                <c:pt idx="123">
                  <c:v>1867</c:v>
                </c:pt>
                <c:pt idx="124">
                  <c:v>1802</c:v>
                </c:pt>
                <c:pt idx="125">
                  <c:v>2084</c:v>
                </c:pt>
                <c:pt idx="126">
                  <c:v>2211</c:v>
                </c:pt>
                <c:pt idx="127">
                  <c:v>2294</c:v>
                </c:pt>
                <c:pt idx="128">
                  <c:v>2362</c:v>
                </c:pt>
                <c:pt idx="129">
                  <c:v>2272</c:v>
                </c:pt>
                <c:pt idx="130">
                  <c:v>2161</c:v>
                </c:pt>
                <c:pt idx="131">
                  <c:v>2039</c:v>
                </c:pt>
                <c:pt idx="132">
                  <c:v>2200</c:v>
                </c:pt>
                <c:pt idx="133">
                  <c:v>2287</c:v>
                </c:pt>
                <c:pt idx="134">
                  <c:v>2362</c:v>
                </c:pt>
                <c:pt idx="135">
                  <c:v>2367</c:v>
                </c:pt>
                <c:pt idx="136">
                  <c:v>2227</c:v>
                </c:pt>
                <c:pt idx="137">
                  <c:v>2085</c:v>
                </c:pt>
                <c:pt idx="138">
                  <c:v>1975</c:v>
                </c:pt>
                <c:pt idx="139">
                  <c:v>1977</c:v>
                </c:pt>
                <c:pt idx="140">
                  <c:v>1926</c:v>
                </c:pt>
                <c:pt idx="141">
                  <c:v>1959</c:v>
                </c:pt>
                <c:pt idx="142">
                  <c:v>1995</c:v>
                </c:pt>
                <c:pt idx="143">
                  <c:v>1903</c:v>
                </c:pt>
                <c:pt idx="144">
                  <c:v>1827</c:v>
                </c:pt>
                <c:pt idx="145">
                  <c:v>1718</c:v>
                </c:pt>
                <c:pt idx="146">
                  <c:v>1731</c:v>
                </c:pt>
                <c:pt idx="147">
                  <c:v>1737</c:v>
                </c:pt>
                <c:pt idx="148">
                  <c:v>1764</c:v>
                </c:pt>
                <c:pt idx="149">
                  <c:v>1778</c:v>
                </c:pt>
                <c:pt idx="150">
                  <c:v>1697</c:v>
                </c:pt>
                <c:pt idx="151">
                  <c:v>1630</c:v>
                </c:pt>
                <c:pt idx="152">
                  <c:v>1556</c:v>
                </c:pt>
                <c:pt idx="153">
                  <c:v>1578</c:v>
                </c:pt>
                <c:pt idx="154">
                  <c:v>1576</c:v>
                </c:pt>
                <c:pt idx="155">
                  <c:v>1615</c:v>
                </c:pt>
                <c:pt idx="156">
                  <c:v>1640</c:v>
                </c:pt>
                <c:pt idx="157">
                  <c:v>1585</c:v>
                </c:pt>
                <c:pt idx="158">
                  <c:v>1517</c:v>
                </c:pt>
                <c:pt idx="159">
                  <c:v>1473</c:v>
                </c:pt>
                <c:pt idx="160">
                  <c:v>1501</c:v>
                </c:pt>
                <c:pt idx="161">
                  <c:v>1469</c:v>
                </c:pt>
                <c:pt idx="162">
                  <c:v>1485</c:v>
                </c:pt>
                <c:pt idx="163">
                  <c:v>1512</c:v>
                </c:pt>
                <c:pt idx="164">
                  <c:v>1473</c:v>
                </c:pt>
                <c:pt idx="165">
                  <c:v>1412</c:v>
                </c:pt>
                <c:pt idx="166">
                  <c:v>1367</c:v>
                </c:pt>
                <c:pt idx="167">
                  <c:v>1385</c:v>
                </c:pt>
                <c:pt idx="168">
                  <c:v>1376</c:v>
                </c:pt>
                <c:pt idx="169">
                  <c:v>1394</c:v>
                </c:pt>
                <c:pt idx="170">
                  <c:v>1415</c:v>
                </c:pt>
                <c:pt idx="171">
                  <c:v>1391</c:v>
                </c:pt>
                <c:pt idx="172">
                  <c:v>1352</c:v>
                </c:pt>
                <c:pt idx="173">
                  <c:v>1329</c:v>
                </c:pt>
                <c:pt idx="174">
                  <c:v>1365</c:v>
                </c:pt>
                <c:pt idx="175">
                  <c:v>1381</c:v>
                </c:pt>
                <c:pt idx="176">
                  <c:v>1400</c:v>
                </c:pt>
                <c:pt idx="177">
                  <c:v>1428</c:v>
                </c:pt>
                <c:pt idx="178">
                  <c:v>1412</c:v>
                </c:pt>
                <c:pt idx="179">
                  <c:v>1364</c:v>
                </c:pt>
                <c:pt idx="180">
                  <c:v>1328</c:v>
                </c:pt>
                <c:pt idx="181">
                  <c:v>1359</c:v>
                </c:pt>
                <c:pt idx="182">
                  <c:v>1354</c:v>
                </c:pt>
                <c:pt idx="183">
                  <c:v>1396</c:v>
                </c:pt>
                <c:pt idx="184">
                  <c:v>1431</c:v>
                </c:pt>
                <c:pt idx="185">
                  <c:v>1382</c:v>
                </c:pt>
                <c:pt idx="186">
                  <c:v>1330</c:v>
                </c:pt>
                <c:pt idx="187">
                  <c:v>1302</c:v>
                </c:pt>
                <c:pt idx="188">
                  <c:v>1324</c:v>
                </c:pt>
                <c:pt idx="189">
                  <c:v>1308</c:v>
                </c:pt>
                <c:pt idx="190">
                  <c:v>1329</c:v>
                </c:pt>
                <c:pt idx="191">
                  <c:v>1348</c:v>
                </c:pt>
                <c:pt idx="192">
                  <c:v>1365</c:v>
                </c:pt>
                <c:pt idx="193">
                  <c:v>1376</c:v>
                </c:pt>
                <c:pt idx="194">
                  <c:v>1382</c:v>
                </c:pt>
                <c:pt idx="195">
                  <c:v>1423</c:v>
                </c:pt>
                <c:pt idx="196">
                  <c:v>1385</c:v>
                </c:pt>
                <c:pt idx="197">
                  <c:v>1363</c:v>
                </c:pt>
                <c:pt idx="198">
                  <c:v>1322</c:v>
                </c:pt>
                <c:pt idx="199">
                  <c:v>1305</c:v>
                </c:pt>
                <c:pt idx="200">
                  <c:v>1270</c:v>
                </c:pt>
                <c:pt idx="201">
                  <c:v>1265</c:v>
                </c:pt>
                <c:pt idx="202">
                  <c:v>1295</c:v>
                </c:pt>
                <c:pt idx="203">
                  <c:v>1248</c:v>
                </c:pt>
                <c:pt idx="204">
                  <c:v>1223</c:v>
                </c:pt>
                <c:pt idx="205">
                  <c:v>1195</c:v>
                </c:pt>
                <c:pt idx="206">
                  <c:v>1185</c:v>
                </c:pt>
                <c:pt idx="207">
                  <c:v>1160</c:v>
                </c:pt>
                <c:pt idx="208">
                  <c:v>1152</c:v>
                </c:pt>
                <c:pt idx="209">
                  <c:v>1164</c:v>
                </c:pt>
                <c:pt idx="210">
                  <c:v>1154</c:v>
                </c:pt>
                <c:pt idx="211">
                  <c:v>1122</c:v>
                </c:pt>
                <c:pt idx="212">
                  <c:v>1113</c:v>
                </c:pt>
                <c:pt idx="213">
                  <c:v>1090</c:v>
                </c:pt>
                <c:pt idx="214">
                  <c:v>1074</c:v>
                </c:pt>
                <c:pt idx="215">
                  <c:v>1072</c:v>
                </c:pt>
                <c:pt idx="216">
                  <c:v>1078</c:v>
                </c:pt>
                <c:pt idx="217">
                  <c:v>1062</c:v>
                </c:pt>
                <c:pt idx="218">
                  <c:v>1056</c:v>
                </c:pt>
                <c:pt idx="219">
                  <c:v>1054</c:v>
                </c:pt>
                <c:pt idx="220">
                  <c:v>1047</c:v>
                </c:pt>
                <c:pt idx="221">
                  <c:v>1034</c:v>
                </c:pt>
                <c:pt idx="222">
                  <c:v>1030</c:v>
                </c:pt>
                <c:pt idx="223">
                  <c:v>1036</c:v>
                </c:pt>
                <c:pt idx="224">
                  <c:v>1012</c:v>
                </c:pt>
                <c:pt idx="225">
                  <c:v>1005</c:v>
                </c:pt>
                <c:pt idx="226">
                  <c:v>999</c:v>
                </c:pt>
                <c:pt idx="227">
                  <c:v>996</c:v>
                </c:pt>
                <c:pt idx="228">
                  <c:v>995</c:v>
                </c:pt>
                <c:pt idx="229">
                  <c:v>992</c:v>
                </c:pt>
                <c:pt idx="230">
                  <c:v>1003</c:v>
                </c:pt>
                <c:pt idx="231">
                  <c:v>999</c:v>
                </c:pt>
                <c:pt idx="232">
                  <c:v>975</c:v>
                </c:pt>
                <c:pt idx="233">
                  <c:v>956</c:v>
                </c:pt>
                <c:pt idx="234">
                  <c:v>948</c:v>
                </c:pt>
                <c:pt idx="235">
                  <c:v>941</c:v>
                </c:pt>
                <c:pt idx="236">
                  <c:v>939</c:v>
                </c:pt>
                <c:pt idx="237">
                  <c:v>944</c:v>
                </c:pt>
                <c:pt idx="238">
                  <c:v>942</c:v>
                </c:pt>
                <c:pt idx="239">
                  <c:v>936</c:v>
                </c:pt>
                <c:pt idx="240">
                  <c:v>933</c:v>
                </c:pt>
                <c:pt idx="241">
                  <c:v>930</c:v>
                </c:pt>
                <c:pt idx="242">
                  <c:v>926</c:v>
                </c:pt>
                <c:pt idx="243">
                  <c:v>925</c:v>
                </c:pt>
                <c:pt idx="244">
                  <c:v>929</c:v>
                </c:pt>
                <c:pt idx="245">
                  <c:v>917</c:v>
                </c:pt>
                <c:pt idx="246">
                  <c:v>913</c:v>
                </c:pt>
                <c:pt idx="247">
                  <c:v>914</c:v>
                </c:pt>
                <c:pt idx="248">
                  <c:v>912</c:v>
                </c:pt>
                <c:pt idx="249">
                  <c:v>907</c:v>
                </c:pt>
                <c:pt idx="250">
                  <c:v>905</c:v>
                </c:pt>
                <c:pt idx="251">
                  <c:v>908</c:v>
                </c:pt>
                <c:pt idx="252">
                  <c:v>904</c:v>
                </c:pt>
                <c:pt idx="253">
                  <c:v>900</c:v>
                </c:pt>
                <c:pt idx="254">
                  <c:v>900</c:v>
                </c:pt>
                <c:pt idx="255">
                  <c:v>900</c:v>
                </c:pt>
                <c:pt idx="256">
                  <c:v>897</c:v>
                </c:pt>
                <c:pt idx="257">
                  <c:v>897</c:v>
                </c:pt>
                <c:pt idx="258">
                  <c:v>899</c:v>
                </c:pt>
                <c:pt idx="259">
                  <c:v>901</c:v>
                </c:pt>
                <c:pt idx="260">
                  <c:v>898</c:v>
                </c:pt>
                <c:pt idx="261">
                  <c:v>899</c:v>
                </c:pt>
                <c:pt idx="262">
                  <c:v>899</c:v>
                </c:pt>
                <c:pt idx="263">
                  <c:v>896</c:v>
                </c:pt>
                <c:pt idx="264">
                  <c:v>896</c:v>
                </c:pt>
                <c:pt idx="265">
                  <c:v>898</c:v>
                </c:pt>
                <c:pt idx="266">
                  <c:v>896</c:v>
                </c:pt>
                <c:pt idx="267">
                  <c:v>893</c:v>
                </c:pt>
                <c:pt idx="268">
                  <c:v>893</c:v>
                </c:pt>
                <c:pt idx="269">
                  <c:v>891</c:v>
                </c:pt>
                <c:pt idx="270">
                  <c:v>889</c:v>
                </c:pt>
                <c:pt idx="271">
                  <c:v>889</c:v>
                </c:pt>
                <c:pt idx="272">
                  <c:v>888</c:v>
                </c:pt>
                <c:pt idx="273">
                  <c:v>885</c:v>
                </c:pt>
                <c:pt idx="274">
                  <c:v>882</c:v>
                </c:pt>
                <c:pt idx="275">
                  <c:v>882</c:v>
                </c:pt>
                <c:pt idx="276">
                  <c:v>881</c:v>
                </c:pt>
                <c:pt idx="277">
                  <c:v>881</c:v>
                </c:pt>
                <c:pt idx="278">
                  <c:v>881</c:v>
                </c:pt>
                <c:pt idx="279">
                  <c:v>880</c:v>
                </c:pt>
                <c:pt idx="280">
                  <c:v>878</c:v>
                </c:pt>
                <c:pt idx="281">
                  <c:v>876</c:v>
                </c:pt>
                <c:pt idx="282">
                  <c:v>876</c:v>
                </c:pt>
                <c:pt idx="283">
                  <c:v>876</c:v>
                </c:pt>
                <c:pt idx="284">
                  <c:v>876</c:v>
                </c:pt>
                <c:pt idx="285">
                  <c:v>876</c:v>
                </c:pt>
                <c:pt idx="286">
                  <c:v>876</c:v>
                </c:pt>
                <c:pt idx="287">
                  <c:v>876</c:v>
                </c:pt>
                <c:pt idx="288">
                  <c:v>876</c:v>
                </c:pt>
                <c:pt idx="289">
                  <c:v>875</c:v>
                </c:pt>
                <c:pt idx="290">
                  <c:v>875</c:v>
                </c:pt>
                <c:pt idx="291">
                  <c:v>875</c:v>
                </c:pt>
                <c:pt idx="292">
                  <c:v>875</c:v>
                </c:pt>
                <c:pt idx="293">
                  <c:v>875</c:v>
                </c:pt>
                <c:pt idx="294">
                  <c:v>875</c:v>
                </c:pt>
                <c:pt idx="295">
                  <c:v>875</c:v>
                </c:pt>
                <c:pt idx="296">
                  <c:v>876</c:v>
                </c:pt>
                <c:pt idx="297">
                  <c:v>875</c:v>
                </c:pt>
                <c:pt idx="298">
                  <c:v>875</c:v>
                </c:pt>
                <c:pt idx="299">
                  <c:v>875</c:v>
                </c:pt>
                <c:pt idx="300">
                  <c:v>875</c:v>
                </c:pt>
                <c:pt idx="301">
                  <c:v>875</c:v>
                </c:pt>
                <c:pt idx="302">
                  <c:v>876</c:v>
                </c:pt>
                <c:pt idx="303">
                  <c:v>876</c:v>
                </c:pt>
                <c:pt idx="304">
                  <c:v>876</c:v>
                </c:pt>
                <c:pt idx="305">
                  <c:v>876</c:v>
                </c:pt>
                <c:pt idx="306">
                  <c:v>876</c:v>
                </c:pt>
                <c:pt idx="307">
                  <c:v>876</c:v>
                </c:pt>
                <c:pt idx="308">
                  <c:v>876</c:v>
                </c:pt>
                <c:pt idx="309">
                  <c:v>877</c:v>
                </c:pt>
                <c:pt idx="310">
                  <c:v>878</c:v>
                </c:pt>
                <c:pt idx="311">
                  <c:v>878</c:v>
                </c:pt>
                <c:pt idx="312">
                  <c:v>878</c:v>
                </c:pt>
                <c:pt idx="313">
                  <c:v>879</c:v>
                </c:pt>
                <c:pt idx="314">
                  <c:v>879</c:v>
                </c:pt>
                <c:pt idx="315">
                  <c:v>879</c:v>
                </c:pt>
                <c:pt idx="316">
                  <c:v>879</c:v>
                </c:pt>
                <c:pt idx="317">
                  <c:v>879</c:v>
                </c:pt>
                <c:pt idx="318">
                  <c:v>878</c:v>
                </c:pt>
                <c:pt idx="319">
                  <c:v>878</c:v>
                </c:pt>
                <c:pt idx="320">
                  <c:v>878</c:v>
                </c:pt>
                <c:pt idx="321">
                  <c:v>878</c:v>
                </c:pt>
                <c:pt idx="322">
                  <c:v>878</c:v>
                </c:pt>
                <c:pt idx="323">
                  <c:v>879</c:v>
                </c:pt>
                <c:pt idx="324">
                  <c:v>878</c:v>
                </c:pt>
                <c:pt idx="325">
                  <c:v>878</c:v>
                </c:pt>
                <c:pt idx="326">
                  <c:v>877</c:v>
                </c:pt>
                <c:pt idx="327">
                  <c:v>877</c:v>
                </c:pt>
                <c:pt idx="328">
                  <c:v>876</c:v>
                </c:pt>
                <c:pt idx="329">
                  <c:v>877</c:v>
                </c:pt>
                <c:pt idx="330">
                  <c:v>878</c:v>
                </c:pt>
                <c:pt idx="331">
                  <c:v>878</c:v>
                </c:pt>
                <c:pt idx="332">
                  <c:v>878</c:v>
                </c:pt>
                <c:pt idx="333">
                  <c:v>878</c:v>
                </c:pt>
                <c:pt idx="334">
                  <c:v>878</c:v>
                </c:pt>
                <c:pt idx="335">
                  <c:v>878</c:v>
                </c:pt>
                <c:pt idx="336">
                  <c:v>878</c:v>
                </c:pt>
                <c:pt idx="337">
                  <c:v>878</c:v>
                </c:pt>
                <c:pt idx="338">
                  <c:v>877</c:v>
                </c:pt>
                <c:pt idx="339">
                  <c:v>877</c:v>
                </c:pt>
                <c:pt idx="340">
                  <c:v>877</c:v>
                </c:pt>
                <c:pt idx="341">
                  <c:v>878</c:v>
                </c:pt>
                <c:pt idx="342">
                  <c:v>878</c:v>
                </c:pt>
                <c:pt idx="343">
                  <c:v>877</c:v>
                </c:pt>
                <c:pt idx="344">
                  <c:v>877</c:v>
                </c:pt>
                <c:pt idx="345">
                  <c:v>877</c:v>
                </c:pt>
                <c:pt idx="346">
                  <c:v>877</c:v>
                </c:pt>
                <c:pt idx="347">
                  <c:v>877</c:v>
                </c:pt>
                <c:pt idx="348">
                  <c:v>877</c:v>
                </c:pt>
                <c:pt idx="349">
                  <c:v>877</c:v>
                </c:pt>
                <c:pt idx="350">
                  <c:v>876</c:v>
                </c:pt>
                <c:pt idx="351">
                  <c:v>876</c:v>
                </c:pt>
                <c:pt idx="352">
                  <c:v>876</c:v>
                </c:pt>
                <c:pt idx="353">
                  <c:v>876</c:v>
                </c:pt>
                <c:pt idx="354">
                  <c:v>876</c:v>
                </c:pt>
                <c:pt idx="355">
                  <c:v>876</c:v>
                </c:pt>
                <c:pt idx="356">
                  <c:v>877</c:v>
                </c:pt>
                <c:pt idx="357">
                  <c:v>877</c:v>
                </c:pt>
                <c:pt idx="358">
                  <c:v>877</c:v>
                </c:pt>
                <c:pt idx="359">
                  <c:v>877</c:v>
                </c:pt>
                <c:pt idx="360">
                  <c:v>878</c:v>
                </c:pt>
                <c:pt idx="361">
                  <c:v>878</c:v>
                </c:pt>
                <c:pt idx="362">
                  <c:v>878</c:v>
                </c:pt>
                <c:pt idx="363">
                  <c:v>878</c:v>
                </c:pt>
                <c:pt idx="364">
                  <c:v>878</c:v>
                </c:pt>
                <c:pt idx="365">
                  <c:v>883</c:v>
                </c:pt>
                <c:pt idx="366">
                  <c:v>884</c:v>
                </c:pt>
                <c:pt idx="367">
                  <c:v>885</c:v>
                </c:pt>
                <c:pt idx="368">
                  <c:v>885</c:v>
                </c:pt>
                <c:pt idx="369">
                  <c:v>885</c:v>
                </c:pt>
                <c:pt idx="370">
                  <c:v>886</c:v>
                </c:pt>
                <c:pt idx="371">
                  <c:v>887</c:v>
                </c:pt>
                <c:pt idx="372">
                  <c:v>888</c:v>
                </c:pt>
                <c:pt idx="373">
                  <c:v>889</c:v>
                </c:pt>
                <c:pt idx="374">
                  <c:v>890</c:v>
                </c:pt>
                <c:pt idx="375">
                  <c:v>889</c:v>
                </c:pt>
                <c:pt idx="376">
                  <c:v>888</c:v>
                </c:pt>
                <c:pt idx="377">
                  <c:v>888</c:v>
                </c:pt>
                <c:pt idx="378">
                  <c:v>889</c:v>
                </c:pt>
                <c:pt idx="379">
                  <c:v>888</c:v>
                </c:pt>
                <c:pt idx="380">
                  <c:v>888</c:v>
                </c:pt>
                <c:pt idx="381">
                  <c:v>887</c:v>
                </c:pt>
                <c:pt idx="382">
                  <c:v>885</c:v>
                </c:pt>
                <c:pt idx="383">
                  <c:v>885</c:v>
                </c:pt>
                <c:pt idx="384">
                  <c:v>889</c:v>
                </c:pt>
                <c:pt idx="385">
                  <c:v>892</c:v>
                </c:pt>
                <c:pt idx="386">
                  <c:v>892</c:v>
                </c:pt>
                <c:pt idx="387">
                  <c:v>892</c:v>
                </c:pt>
                <c:pt idx="388">
                  <c:v>892</c:v>
                </c:pt>
                <c:pt idx="389">
                  <c:v>893</c:v>
                </c:pt>
                <c:pt idx="390">
                  <c:v>894</c:v>
                </c:pt>
                <c:pt idx="391">
                  <c:v>898</c:v>
                </c:pt>
                <c:pt idx="392">
                  <c:v>900</c:v>
                </c:pt>
                <c:pt idx="393">
                  <c:v>905</c:v>
                </c:pt>
                <c:pt idx="394">
                  <c:v>906</c:v>
                </c:pt>
                <c:pt idx="395">
                  <c:v>907</c:v>
                </c:pt>
                <c:pt idx="396">
                  <c:v>906</c:v>
                </c:pt>
                <c:pt idx="397">
                  <c:v>905</c:v>
                </c:pt>
                <c:pt idx="398">
                  <c:v>908</c:v>
                </c:pt>
                <c:pt idx="399">
                  <c:v>910</c:v>
                </c:pt>
                <c:pt idx="400">
                  <c:v>910</c:v>
                </c:pt>
                <c:pt idx="401">
                  <c:v>911</c:v>
                </c:pt>
                <c:pt idx="402">
                  <c:v>912</c:v>
                </c:pt>
                <c:pt idx="403">
                  <c:v>913</c:v>
                </c:pt>
                <c:pt idx="404">
                  <c:v>911</c:v>
                </c:pt>
                <c:pt idx="405">
                  <c:v>913</c:v>
                </c:pt>
                <c:pt idx="406">
                  <c:v>909</c:v>
                </c:pt>
                <c:pt idx="407">
                  <c:v>909</c:v>
                </c:pt>
                <c:pt idx="408">
                  <c:v>905</c:v>
                </c:pt>
                <c:pt idx="409">
                  <c:v>911</c:v>
                </c:pt>
                <c:pt idx="410">
                  <c:v>910</c:v>
                </c:pt>
                <c:pt idx="411">
                  <c:v>911</c:v>
                </c:pt>
                <c:pt idx="412">
                  <c:v>923</c:v>
                </c:pt>
                <c:pt idx="413">
                  <c:v>927</c:v>
                </c:pt>
                <c:pt idx="414">
                  <c:v>937</c:v>
                </c:pt>
                <c:pt idx="415">
                  <c:v>939</c:v>
                </c:pt>
                <c:pt idx="416">
                  <c:v>946</c:v>
                </c:pt>
                <c:pt idx="417">
                  <c:v>941</c:v>
                </c:pt>
                <c:pt idx="418">
                  <c:v>945</c:v>
                </c:pt>
                <c:pt idx="419">
                  <c:v>964</c:v>
                </c:pt>
                <c:pt idx="420">
                  <c:v>967</c:v>
                </c:pt>
                <c:pt idx="421">
                  <c:v>982</c:v>
                </c:pt>
                <c:pt idx="422">
                  <c:v>983</c:v>
                </c:pt>
                <c:pt idx="423">
                  <c:v>988</c:v>
                </c:pt>
                <c:pt idx="424">
                  <c:v>988</c:v>
                </c:pt>
                <c:pt idx="425">
                  <c:v>989</c:v>
                </c:pt>
                <c:pt idx="426">
                  <c:v>1030</c:v>
                </c:pt>
                <c:pt idx="427">
                  <c:v>1041</c:v>
                </c:pt>
                <c:pt idx="428">
                  <c:v>1055</c:v>
                </c:pt>
                <c:pt idx="429">
                  <c:v>1069</c:v>
                </c:pt>
                <c:pt idx="430">
                  <c:v>1087</c:v>
                </c:pt>
                <c:pt idx="431">
                  <c:v>1094</c:v>
                </c:pt>
                <c:pt idx="432">
                  <c:v>1096</c:v>
                </c:pt>
                <c:pt idx="433">
                  <c:v>1145</c:v>
                </c:pt>
                <c:pt idx="434">
                  <c:v>1161</c:v>
                </c:pt>
                <c:pt idx="435">
                  <c:v>1172</c:v>
                </c:pt>
                <c:pt idx="436">
                  <c:v>1200</c:v>
                </c:pt>
                <c:pt idx="437">
                  <c:v>1229</c:v>
                </c:pt>
                <c:pt idx="438">
                  <c:v>1237</c:v>
                </c:pt>
                <c:pt idx="439">
                  <c:v>1243</c:v>
                </c:pt>
                <c:pt idx="440">
                  <c:v>1293</c:v>
                </c:pt>
                <c:pt idx="441">
                  <c:v>1291</c:v>
                </c:pt>
                <c:pt idx="442">
                  <c:v>1274</c:v>
                </c:pt>
                <c:pt idx="443">
                  <c:v>1291</c:v>
                </c:pt>
                <c:pt idx="444">
                  <c:v>1315</c:v>
                </c:pt>
                <c:pt idx="445">
                  <c:v>1303</c:v>
                </c:pt>
                <c:pt idx="446">
                  <c:v>1299</c:v>
                </c:pt>
                <c:pt idx="447">
                  <c:v>1364</c:v>
                </c:pt>
                <c:pt idx="448">
                  <c:v>1366</c:v>
                </c:pt>
                <c:pt idx="449">
                  <c:v>1377</c:v>
                </c:pt>
                <c:pt idx="450">
                  <c:v>1379</c:v>
                </c:pt>
                <c:pt idx="451">
                  <c:v>1388</c:v>
                </c:pt>
                <c:pt idx="452">
                  <c:v>1376</c:v>
                </c:pt>
                <c:pt idx="453">
                  <c:v>1364</c:v>
                </c:pt>
                <c:pt idx="454">
                  <c:v>1400</c:v>
                </c:pt>
                <c:pt idx="455">
                  <c:v>1381</c:v>
                </c:pt>
                <c:pt idx="456">
                  <c:v>1374</c:v>
                </c:pt>
                <c:pt idx="457">
                  <c:v>1390</c:v>
                </c:pt>
                <c:pt idx="458">
                  <c:v>1353</c:v>
                </c:pt>
                <c:pt idx="459">
                  <c:v>1317</c:v>
                </c:pt>
                <c:pt idx="460">
                  <c:v>1308</c:v>
                </c:pt>
                <c:pt idx="461">
                  <c:v>1344</c:v>
                </c:pt>
                <c:pt idx="462">
                  <c:v>1307</c:v>
                </c:pt>
                <c:pt idx="463">
                  <c:v>1285</c:v>
                </c:pt>
                <c:pt idx="464">
                  <c:v>1246</c:v>
                </c:pt>
                <c:pt idx="465">
                  <c:v>1227</c:v>
                </c:pt>
                <c:pt idx="466">
                  <c:v>1192</c:v>
                </c:pt>
                <c:pt idx="467">
                  <c:v>1187</c:v>
                </c:pt>
                <c:pt idx="468">
                  <c:v>1210</c:v>
                </c:pt>
                <c:pt idx="469">
                  <c:v>1179</c:v>
                </c:pt>
                <c:pt idx="470">
                  <c:v>1148</c:v>
                </c:pt>
                <c:pt idx="471">
                  <c:v>1125</c:v>
                </c:pt>
                <c:pt idx="472">
                  <c:v>1101</c:v>
                </c:pt>
                <c:pt idx="473">
                  <c:v>1055</c:v>
                </c:pt>
                <c:pt idx="474">
                  <c:v>1049</c:v>
                </c:pt>
                <c:pt idx="475">
                  <c:v>1064</c:v>
                </c:pt>
                <c:pt idx="476">
                  <c:v>1017</c:v>
                </c:pt>
                <c:pt idx="477">
                  <c:v>984</c:v>
                </c:pt>
                <c:pt idx="478">
                  <c:v>950</c:v>
                </c:pt>
                <c:pt idx="479">
                  <c:v>936</c:v>
                </c:pt>
                <c:pt idx="480">
                  <c:v>912</c:v>
                </c:pt>
                <c:pt idx="481">
                  <c:v>903</c:v>
                </c:pt>
                <c:pt idx="482">
                  <c:v>902</c:v>
                </c:pt>
                <c:pt idx="483">
                  <c:v>884</c:v>
                </c:pt>
                <c:pt idx="484">
                  <c:v>852</c:v>
                </c:pt>
                <c:pt idx="485">
                  <c:v>840</c:v>
                </c:pt>
                <c:pt idx="486">
                  <c:v>828</c:v>
                </c:pt>
                <c:pt idx="487">
                  <c:v>808</c:v>
                </c:pt>
                <c:pt idx="488">
                  <c:v>801</c:v>
                </c:pt>
                <c:pt idx="489">
                  <c:v>810</c:v>
                </c:pt>
                <c:pt idx="490">
                  <c:v>796</c:v>
                </c:pt>
                <c:pt idx="491">
                  <c:v>788</c:v>
                </c:pt>
                <c:pt idx="492">
                  <c:v>789</c:v>
                </c:pt>
                <c:pt idx="493">
                  <c:v>792</c:v>
                </c:pt>
                <c:pt idx="494">
                  <c:v>789</c:v>
                </c:pt>
                <c:pt idx="495">
                  <c:v>787</c:v>
                </c:pt>
                <c:pt idx="496">
                  <c:v>804</c:v>
                </c:pt>
                <c:pt idx="497">
                  <c:v>793</c:v>
                </c:pt>
                <c:pt idx="498">
                  <c:v>785</c:v>
                </c:pt>
                <c:pt idx="499">
                  <c:v>780</c:v>
                </c:pt>
                <c:pt idx="500">
                  <c:v>780</c:v>
                </c:pt>
                <c:pt idx="501">
                  <c:v>783</c:v>
                </c:pt>
                <c:pt idx="502">
                  <c:v>793</c:v>
                </c:pt>
                <c:pt idx="503">
                  <c:v>835</c:v>
                </c:pt>
                <c:pt idx="504">
                  <c:v>850</c:v>
                </c:pt>
                <c:pt idx="505">
                  <c:v>880</c:v>
                </c:pt>
                <c:pt idx="506">
                  <c:v>922</c:v>
                </c:pt>
                <c:pt idx="507">
                  <c:v>979</c:v>
                </c:pt>
                <c:pt idx="508">
                  <c:v>972</c:v>
                </c:pt>
                <c:pt idx="509">
                  <c:v>973</c:v>
                </c:pt>
                <c:pt idx="510">
                  <c:v>1039</c:v>
                </c:pt>
                <c:pt idx="511">
                  <c:v>1103</c:v>
                </c:pt>
                <c:pt idx="512">
                  <c:v>1185</c:v>
                </c:pt>
                <c:pt idx="513">
                  <c:v>1235</c:v>
                </c:pt>
                <c:pt idx="514">
                  <c:v>1253</c:v>
                </c:pt>
                <c:pt idx="515">
                  <c:v>1239</c:v>
                </c:pt>
                <c:pt idx="516">
                  <c:v>1219</c:v>
                </c:pt>
                <c:pt idx="517">
                  <c:v>1277</c:v>
                </c:pt>
                <c:pt idx="518">
                  <c:v>1323</c:v>
                </c:pt>
                <c:pt idx="519">
                  <c:v>1386</c:v>
                </c:pt>
                <c:pt idx="520">
                  <c:v>1425</c:v>
                </c:pt>
                <c:pt idx="521">
                  <c:v>1396</c:v>
                </c:pt>
                <c:pt idx="522">
                  <c:v>1294</c:v>
                </c:pt>
                <c:pt idx="523">
                  <c:v>1202</c:v>
                </c:pt>
                <c:pt idx="524">
                  <c:v>1229</c:v>
                </c:pt>
                <c:pt idx="525">
                  <c:v>1218</c:v>
                </c:pt>
                <c:pt idx="526">
                  <c:v>1244</c:v>
                </c:pt>
                <c:pt idx="527">
                  <c:v>1262</c:v>
                </c:pt>
                <c:pt idx="528">
                  <c:v>1154</c:v>
                </c:pt>
                <c:pt idx="529">
                  <c:v>1041</c:v>
                </c:pt>
                <c:pt idx="530">
                  <c:v>961</c:v>
                </c:pt>
                <c:pt idx="531">
                  <c:v>960</c:v>
                </c:pt>
                <c:pt idx="532">
                  <c:v>938</c:v>
                </c:pt>
                <c:pt idx="533">
                  <c:v>962</c:v>
                </c:pt>
                <c:pt idx="534">
                  <c:v>970</c:v>
                </c:pt>
                <c:pt idx="535">
                  <c:v>823</c:v>
                </c:pt>
                <c:pt idx="536">
                  <c:v>733</c:v>
                </c:pt>
                <c:pt idx="537">
                  <c:v>646</c:v>
                </c:pt>
                <c:pt idx="538">
                  <c:v>629</c:v>
                </c:pt>
                <c:pt idx="539">
                  <c:v>588</c:v>
                </c:pt>
                <c:pt idx="540">
                  <c:v>588</c:v>
                </c:pt>
                <c:pt idx="541">
                  <c:v>579</c:v>
                </c:pt>
                <c:pt idx="542">
                  <c:v>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List1!$D$2:$D$544</c:f>
              <c:numCache>
                <c:formatCode>General</c:formatCode>
                <c:ptCount val="543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0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8</c:v>
                </c:pt>
                <c:pt idx="14">
                  <c:v>6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5</c:v>
                </c:pt>
                <c:pt idx="20">
                  <c:v>14</c:v>
                </c:pt>
                <c:pt idx="21">
                  <c:v>17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1</c:v>
                </c:pt>
                <c:pt idx="27">
                  <c:v>46</c:v>
                </c:pt>
                <c:pt idx="28">
                  <c:v>70</c:v>
                </c:pt>
                <c:pt idx="29">
                  <c:v>99</c:v>
                </c:pt>
                <c:pt idx="30">
                  <c:v>156</c:v>
                </c:pt>
                <c:pt idx="31">
                  <c:v>302</c:v>
                </c:pt>
                <c:pt idx="32">
                  <c:v>360</c:v>
                </c:pt>
                <c:pt idx="33">
                  <c:v>427</c:v>
                </c:pt>
                <c:pt idx="34">
                  <c:v>675</c:v>
                </c:pt>
                <c:pt idx="35">
                  <c:v>785</c:v>
                </c:pt>
                <c:pt idx="36">
                  <c:v>849</c:v>
                </c:pt>
                <c:pt idx="37">
                  <c:v>1000</c:v>
                </c:pt>
                <c:pt idx="38">
                  <c:v>1218</c:v>
                </c:pt>
                <c:pt idx="39">
                  <c:v>1275</c:v>
                </c:pt>
                <c:pt idx="40">
                  <c:v>1259</c:v>
                </c:pt>
                <c:pt idx="41">
                  <c:v>1512</c:v>
                </c:pt>
                <c:pt idx="42">
                  <c:v>1812</c:v>
                </c:pt>
                <c:pt idx="43">
                  <c:v>2115</c:v>
                </c:pt>
                <c:pt idx="44">
                  <c:v>2472</c:v>
                </c:pt>
                <c:pt idx="45">
                  <c:v>2767</c:v>
                </c:pt>
                <c:pt idx="46">
                  <c:v>2912</c:v>
                </c:pt>
                <c:pt idx="47">
                  <c:v>2859</c:v>
                </c:pt>
                <c:pt idx="48">
                  <c:v>3178</c:v>
                </c:pt>
                <c:pt idx="49">
                  <c:v>3440</c:v>
                </c:pt>
                <c:pt idx="50">
                  <c:v>3949</c:v>
                </c:pt>
                <c:pt idx="51">
                  <c:v>4276</c:v>
                </c:pt>
                <c:pt idx="52">
                  <c:v>4836</c:v>
                </c:pt>
                <c:pt idx="53">
                  <c:v>4989</c:v>
                </c:pt>
                <c:pt idx="54">
                  <c:v>4999</c:v>
                </c:pt>
                <c:pt idx="55">
                  <c:v>5350</c:v>
                </c:pt>
                <c:pt idx="56">
                  <c:v>5882</c:v>
                </c:pt>
                <c:pt idx="57">
                  <c:v>5922</c:v>
                </c:pt>
                <c:pt idx="58">
                  <c:v>6778</c:v>
                </c:pt>
                <c:pt idx="59">
                  <c:v>7219</c:v>
                </c:pt>
                <c:pt idx="60">
                  <c:v>7222</c:v>
                </c:pt>
                <c:pt idx="61">
                  <c:v>6957</c:v>
                </c:pt>
                <c:pt idx="62">
                  <c:v>7055</c:v>
                </c:pt>
                <c:pt idx="63">
                  <c:v>6928</c:v>
                </c:pt>
                <c:pt idx="64">
                  <c:v>7340</c:v>
                </c:pt>
                <c:pt idx="65">
                  <c:v>7859</c:v>
                </c:pt>
                <c:pt idx="66">
                  <c:v>7539</c:v>
                </c:pt>
                <c:pt idx="67">
                  <c:v>6938</c:v>
                </c:pt>
                <c:pt idx="68">
                  <c:v>6759</c:v>
                </c:pt>
                <c:pt idx="69">
                  <c:v>6370</c:v>
                </c:pt>
                <c:pt idx="70">
                  <c:v>6107</c:v>
                </c:pt>
                <c:pt idx="71">
                  <c:v>6657</c:v>
                </c:pt>
                <c:pt idx="72">
                  <c:v>7173</c:v>
                </c:pt>
                <c:pt idx="73">
                  <c:v>7128</c:v>
                </c:pt>
                <c:pt idx="74">
                  <c:v>6583</c:v>
                </c:pt>
                <c:pt idx="75">
                  <c:v>6229</c:v>
                </c:pt>
                <c:pt idx="76">
                  <c:v>6220</c:v>
                </c:pt>
                <c:pt idx="77">
                  <c:v>5844</c:v>
                </c:pt>
                <c:pt idx="78">
                  <c:v>6139</c:v>
                </c:pt>
                <c:pt idx="79">
                  <c:v>6370</c:v>
                </c:pt>
                <c:pt idx="80">
                  <c:v>6379</c:v>
                </c:pt>
                <c:pt idx="81">
                  <c:v>5743</c:v>
                </c:pt>
                <c:pt idx="82">
                  <c:v>5284</c:v>
                </c:pt>
                <c:pt idx="83">
                  <c:v>5401</c:v>
                </c:pt>
                <c:pt idx="84">
                  <c:v>5054</c:v>
                </c:pt>
                <c:pt idx="85">
                  <c:v>5076</c:v>
                </c:pt>
                <c:pt idx="86">
                  <c:v>5192</c:v>
                </c:pt>
                <c:pt idx="87">
                  <c:v>4912</c:v>
                </c:pt>
                <c:pt idx="88">
                  <c:v>4839</c:v>
                </c:pt>
                <c:pt idx="89">
                  <c:v>4438</c:v>
                </c:pt>
                <c:pt idx="90">
                  <c:v>4319</c:v>
                </c:pt>
                <c:pt idx="91">
                  <c:v>4129</c:v>
                </c:pt>
                <c:pt idx="92">
                  <c:v>4215</c:v>
                </c:pt>
                <c:pt idx="93">
                  <c:v>4315</c:v>
                </c:pt>
                <c:pt idx="94">
                  <c:v>4144</c:v>
                </c:pt>
                <c:pt idx="95">
                  <c:v>3912</c:v>
                </c:pt>
                <c:pt idx="96">
                  <c:v>3688</c:v>
                </c:pt>
                <c:pt idx="97">
                  <c:v>3700</c:v>
                </c:pt>
                <c:pt idx="98">
                  <c:v>3547</c:v>
                </c:pt>
                <c:pt idx="99">
                  <c:v>3642</c:v>
                </c:pt>
                <c:pt idx="100">
                  <c:v>3743</c:v>
                </c:pt>
                <c:pt idx="101">
                  <c:v>3714</c:v>
                </c:pt>
                <c:pt idx="102">
                  <c:v>3546</c:v>
                </c:pt>
                <c:pt idx="103">
                  <c:v>3460</c:v>
                </c:pt>
                <c:pt idx="104">
                  <c:v>3515</c:v>
                </c:pt>
                <c:pt idx="105">
                  <c:v>3499</c:v>
                </c:pt>
                <c:pt idx="106">
                  <c:v>3571</c:v>
                </c:pt>
                <c:pt idx="107">
                  <c:v>3611</c:v>
                </c:pt>
                <c:pt idx="108">
                  <c:v>3618</c:v>
                </c:pt>
                <c:pt idx="109">
                  <c:v>3438</c:v>
                </c:pt>
                <c:pt idx="110">
                  <c:v>3325</c:v>
                </c:pt>
                <c:pt idx="111">
                  <c:v>3482</c:v>
                </c:pt>
                <c:pt idx="112">
                  <c:v>3547</c:v>
                </c:pt>
                <c:pt idx="113">
                  <c:v>3667</c:v>
                </c:pt>
                <c:pt idx="114">
                  <c:v>3650</c:v>
                </c:pt>
                <c:pt idx="115">
                  <c:v>3500</c:v>
                </c:pt>
                <c:pt idx="116">
                  <c:v>3432</c:v>
                </c:pt>
                <c:pt idx="117">
                  <c:v>3402</c:v>
                </c:pt>
                <c:pt idx="118">
                  <c:v>3565</c:v>
                </c:pt>
                <c:pt idx="119">
                  <c:v>3701</c:v>
                </c:pt>
                <c:pt idx="120">
                  <c:v>3882</c:v>
                </c:pt>
                <c:pt idx="121">
                  <c:v>4039</c:v>
                </c:pt>
                <c:pt idx="122">
                  <c:v>3813</c:v>
                </c:pt>
                <c:pt idx="123">
                  <c:v>3711</c:v>
                </c:pt>
                <c:pt idx="124">
                  <c:v>3481</c:v>
                </c:pt>
                <c:pt idx="125">
                  <c:v>3994</c:v>
                </c:pt>
                <c:pt idx="126">
                  <c:v>4213</c:v>
                </c:pt>
                <c:pt idx="127">
                  <c:v>4385</c:v>
                </c:pt>
                <c:pt idx="128">
                  <c:v>4598</c:v>
                </c:pt>
                <c:pt idx="129">
                  <c:v>4512</c:v>
                </c:pt>
                <c:pt idx="130">
                  <c:v>4270</c:v>
                </c:pt>
                <c:pt idx="131">
                  <c:v>4004</c:v>
                </c:pt>
                <c:pt idx="132">
                  <c:v>4311</c:v>
                </c:pt>
                <c:pt idx="133">
                  <c:v>4462</c:v>
                </c:pt>
                <c:pt idx="134">
                  <c:v>4639</c:v>
                </c:pt>
                <c:pt idx="135">
                  <c:v>4692</c:v>
                </c:pt>
                <c:pt idx="136">
                  <c:v>4471</c:v>
                </c:pt>
                <c:pt idx="137">
                  <c:v>4134</c:v>
                </c:pt>
                <c:pt idx="138">
                  <c:v>3870</c:v>
                </c:pt>
                <c:pt idx="139">
                  <c:v>3817</c:v>
                </c:pt>
                <c:pt idx="140">
                  <c:v>3654</c:v>
                </c:pt>
                <c:pt idx="141">
                  <c:v>3769</c:v>
                </c:pt>
                <c:pt idx="142">
                  <c:v>3877</c:v>
                </c:pt>
                <c:pt idx="143">
                  <c:v>3658</c:v>
                </c:pt>
                <c:pt idx="144">
                  <c:v>3511</c:v>
                </c:pt>
                <c:pt idx="145">
                  <c:v>3303</c:v>
                </c:pt>
                <c:pt idx="146">
                  <c:v>3278</c:v>
                </c:pt>
                <c:pt idx="147">
                  <c:v>3229</c:v>
                </c:pt>
                <c:pt idx="148">
                  <c:v>3307</c:v>
                </c:pt>
                <c:pt idx="149">
                  <c:v>3358</c:v>
                </c:pt>
                <c:pt idx="150">
                  <c:v>3135</c:v>
                </c:pt>
                <c:pt idx="151">
                  <c:v>3026</c:v>
                </c:pt>
                <c:pt idx="152">
                  <c:v>2815</c:v>
                </c:pt>
                <c:pt idx="153">
                  <c:v>2866</c:v>
                </c:pt>
                <c:pt idx="154">
                  <c:v>2888</c:v>
                </c:pt>
                <c:pt idx="155">
                  <c:v>2983</c:v>
                </c:pt>
                <c:pt idx="156">
                  <c:v>3039</c:v>
                </c:pt>
                <c:pt idx="157">
                  <c:v>2955</c:v>
                </c:pt>
                <c:pt idx="158">
                  <c:v>2825</c:v>
                </c:pt>
                <c:pt idx="159">
                  <c:v>2726</c:v>
                </c:pt>
                <c:pt idx="160">
                  <c:v>2770</c:v>
                </c:pt>
                <c:pt idx="161">
                  <c:v>2731</c:v>
                </c:pt>
                <c:pt idx="162">
                  <c:v>2787</c:v>
                </c:pt>
                <c:pt idx="163">
                  <c:v>2864</c:v>
                </c:pt>
                <c:pt idx="164">
                  <c:v>2786</c:v>
                </c:pt>
                <c:pt idx="165">
                  <c:v>2604</c:v>
                </c:pt>
                <c:pt idx="166">
                  <c:v>2469</c:v>
                </c:pt>
                <c:pt idx="167">
                  <c:v>2465</c:v>
                </c:pt>
                <c:pt idx="168">
                  <c:v>2373</c:v>
                </c:pt>
                <c:pt idx="169">
                  <c:v>2369</c:v>
                </c:pt>
                <c:pt idx="170">
                  <c:v>2407</c:v>
                </c:pt>
                <c:pt idx="171">
                  <c:v>2322</c:v>
                </c:pt>
                <c:pt idx="172">
                  <c:v>2222</c:v>
                </c:pt>
                <c:pt idx="173">
                  <c:v>2129</c:v>
                </c:pt>
                <c:pt idx="174">
                  <c:v>2209</c:v>
                </c:pt>
                <c:pt idx="175">
                  <c:v>2198</c:v>
                </c:pt>
                <c:pt idx="176">
                  <c:v>2227</c:v>
                </c:pt>
                <c:pt idx="177">
                  <c:v>2285</c:v>
                </c:pt>
                <c:pt idx="178">
                  <c:v>2255</c:v>
                </c:pt>
                <c:pt idx="179">
                  <c:v>2175</c:v>
                </c:pt>
                <c:pt idx="180">
                  <c:v>2118</c:v>
                </c:pt>
                <c:pt idx="181">
                  <c:v>2198</c:v>
                </c:pt>
                <c:pt idx="182">
                  <c:v>2159</c:v>
                </c:pt>
                <c:pt idx="183">
                  <c:v>2209</c:v>
                </c:pt>
                <c:pt idx="184">
                  <c:v>2237</c:v>
                </c:pt>
                <c:pt idx="185">
                  <c:v>2121</c:v>
                </c:pt>
                <c:pt idx="186">
                  <c:v>2040</c:v>
                </c:pt>
                <c:pt idx="187">
                  <c:v>1969</c:v>
                </c:pt>
                <c:pt idx="188">
                  <c:v>1984</c:v>
                </c:pt>
                <c:pt idx="189">
                  <c:v>2018</c:v>
                </c:pt>
                <c:pt idx="190">
                  <c:v>2084</c:v>
                </c:pt>
                <c:pt idx="191">
                  <c:v>2103</c:v>
                </c:pt>
                <c:pt idx="192">
                  <c:v>2149</c:v>
                </c:pt>
                <c:pt idx="193">
                  <c:v>2157</c:v>
                </c:pt>
                <c:pt idx="194">
                  <c:v>2164</c:v>
                </c:pt>
                <c:pt idx="195">
                  <c:v>2231</c:v>
                </c:pt>
                <c:pt idx="196">
                  <c:v>2129</c:v>
                </c:pt>
                <c:pt idx="197">
                  <c:v>2090</c:v>
                </c:pt>
                <c:pt idx="198">
                  <c:v>2034</c:v>
                </c:pt>
                <c:pt idx="199">
                  <c:v>2017</c:v>
                </c:pt>
                <c:pt idx="200">
                  <c:v>1963</c:v>
                </c:pt>
                <c:pt idx="201">
                  <c:v>1957</c:v>
                </c:pt>
                <c:pt idx="202">
                  <c:v>1991</c:v>
                </c:pt>
                <c:pt idx="203">
                  <c:v>1947</c:v>
                </c:pt>
                <c:pt idx="204">
                  <c:v>1888</c:v>
                </c:pt>
                <c:pt idx="205">
                  <c:v>1856</c:v>
                </c:pt>
                <c:pt idx="206">
                  <c:v>1828</c:v>
                </c:pt>
                <c:pt idx="207">
                  <c:v>1769</c:v>
                </c:pt>
                <c:pt idx="208">
                  <c:v>1760</c:v>
                </c:pt>
                <c:pt idx="209">
                  <c:v>1786</c:v>
                </c:pt>
                <c:pt idx="210">
                  <c:v>1745</c:v>
                </c:pt>
                <c:pt idx="211">
                  <c:v>1706</c:v>
                </c:pt>
                <c:pt idx="212">
                  <c:v>1682</c:v>
                </c:pt>
                <c:pt idx="213">
                  <c:v>1630</c:v>
                </c:pt>
                <c:pt idx="214">
                  <c:v>1604</c:v>
                </c:pt>
                <c:pt idx="215">
                  <c:v>1600</c:v>
                </c:pt>
                <c:pt idx="216">
                  <c:v>1604</c:v>
                </c:pt>
                <c:pt idx="217">
                  <c:v>1558</c:v>
                </c:pt>
                <c:pt idx="218">
                  <c:v>1550</c:v>
                </c:pt>
                <c:pt idx="219">
                  <c:v>1533</c:v>
                </c:pt>
                <c:pt idx="220">
                  <c:v>1496</c:v>
                </c:pt>
                <c:pt idx="221">
                  <c:v>1478</c:v>
                </c:pt>
                <c:pt idx="222">
                  <c:v>1473</c:v>
                </c:pt>
                <c:pt idx="223">
                  <c:v>1479</c:v>
                </c:pt>
                <c:pt idx="224">
                  <c:v>1445</c:v>
                </c:pt>
                <c:pt idx="225">
                  <c:v>1417</c:v>
                </c:pt>
                <c:pt idx="226">
                  <c:v>1400</c:v>
                </c:pt>
                <c:pt idx="227">
                  <c:v>1381</c:v>
                </c:pt>
                <c:pt idx="228">
                  <c:v>1378</c:v>
                </c:pt>
                <c:pt idx="229">
                  <c:v>1377</c:v>
                </c:pt>
                <c:pt idx="230">
                  <c:v>1393</c:v>
                </c:pt>
                <c:pt idx="231">
                  <c:v>1384</c:v>
                </c:pt>
                <c:pt idx="232">
                  <c:v>1352</c:v>
                </c:pt>
                <c:pt idx="233">
                  <c:v>1336</c:v>
                </c:pt>
                <c:pt idx="234">
                  <c:v>1332</c:v>
                </c:pt>
                <c:pt idx="235">
                  <c:v>1316</c:v>
                </c:pt>
                <c:pt idx="236">
                  <c:v>1313</c:v>
                </c:pt>
                <c:pt idx="237">
                  <c:v>1319</c:v>
                </c:pt>
                <c:pt idx="238">
                  <c:v>1316</c:v>
                </c:pt>
                <c:pt idx="239">
                  <c:v>1308</c:v>
                </c:pt>
                <c:pt idx="240">
                  <c:v>1304</c:v>
                </c:pt>
                <c:pt idx="241">
                  <c:v>1301</c:v>
                </c:pt>
                <c:pt idx="242">
                  <c:v>1291</c:v>
                </c:pt>
                <c:pt idx="243">
                  <c:v>1290</c:v>
                </c:pt>
                <c:pt idx="244">
                  <c:v>1296</c:v>
                </c:pt>
                <c:pt idx="245">
                  <c:v>1279</c:v>
                </c:pt>
                <c:pt idx="246">
                  <c:v>1272</c:v>
                </c:pt>
                <c:pt idx="247">
                  <c:v>1266</c:v>
                </c:pt>
                <c:pt idx="248">
                  <c:v>1263</c:v>
                </c:pt>
                <c:pt idx="249">
                  <c:v>1252</c:v>
                </c:pt>
                <c:pt idx="250">
                  <c:v>1253</c:v>
                </c:pt>
                <c:pt idx="251">
                  <c:v>1260</c:v>
                </c:pt>
                <c:pt idx="252">
                  <c:v>1256</c:v>
                </c:pt>
                <c:pt idx="253">
                  <c:v>1249</c:v>
                </c:pt>
                <c:pt idx="254">
                  <c:v>1249</c:v>
                </c:pt>
                <c:pt idx="255">
                  <c:v>1249</c:v>
                </c:pt>
                <c:pt idx="256">
                  <c:v>1242</c:v>
                </c:pt>
                <c:pt idx="257">
                  <c:v>1241</c:v>
                </c:pt>
                <c:pt idx="258">
                  <c:v>1245</c:v>
                </c:pt>
                <c:pt idx="259">
                  <c:v>1243</c:v>
                </c:pt>
                <c:pt idx="260">
                  <c:v>1242</c:v>
                </c:pt>
                <c:pt idx="261">
                  <c:v>1240</c:v>
                </c:pt>
                <c:pt idx="262">
                  <c:v>1240</c:v>
                </c:pt>
                <c:pt idx="263">
                  <c:v>1236</c:v>
                </c:pt>
                <c:pt idx="264">
                  <c:v>1235</c:v>
                </c:pt>
                <c:pt idx="265">
                  <c:v>1238</c:v>
                </c:pt>
                <c:pt idx="266">
                  <c:v>1235</c:v>
                </c:pt>
                <c:pt idx="267">
                  <c:v>1231</c:v>
                </c:pt>
                <c:pt idx="268">
                  <c:v>1229</c:v>
                </c:pt>
                <c:pt idx="269">
                  <c:v>1226</c:v>
                </c:pt>
                <c:pt idx="270">
                  <c:v>1224</c:v>
                </c:pt>
                <c:pt idx="271">
                  <c:v>1221</c:v>
                </c:pt>
                <c:pt idx="272">
                  <c:v>1220</c:v>
                </c:pt>
                <c:pt idx="273">
                  <c:v>1215</c:v>
                </c:pt>
                <c:pt idx="274">
                  <c:v>1215</c:v>
                </c:pt>
                <c:pt idx="275">
                  <c:v>1211</c:v>
                </c:pt>
                <c:pt idx="276">
                  <c:v>1206</c:v>
                </c:pt>
                <c:pt idx="277">
                  <c:v>1205</c:v>
                </c:pt>
                <c:pt idx="278">
                  <c:v>1205</c:v>
                </c:pt>
                <c:pt idx="279">
                  <c:v>1205</c:v>
                </c:pt>
                <c:pt idx="280">
                  <c:v>1203</c:v>
                </c:pt>
                <c:pt idx="281">
                  <c:v>1200</c:v>
                </c:pt>
                <c:pt idx="282">
                  <c:v>1199</c:v>
                </c:pt>
                <c:pt idx="283">
                  <c:v>1200</c:v>
                </c:pt>
                <c:pt idx="284">
                  <c:v>1197</c:v>
                </c:pt>
                <c:pt idx="285">
                  <c:v>1197</c:v>
                </c:pt>
                <c:pt idx="286">
                  <c:v>1197</c:v>
                </c:pt>
                <c:pt idx="287">
                  <c:v>1197</c:v>
                </c:pt>
                <c:pt idx="288">
                  <c:v>1197</c:v>
                </c:pt>
                <c:pt idx="289">
                  <c:v>1196</c:v>
                </c:pt>
                <c:pt idx="290">
                  <c:v>1196</c:v>
                </c:pt>
                <c:pt idx="291">
                  <c:v>1196</c:v>
                </c:pt>
                <c:pt idx="292">
                  <c:v>1196</c:v>
                </c:pt>
                <c:pt idx="293">
                  <c:v>1196</c:v>
                </c:pt>
                <c:pt idx="294">
                  <c:v>1196</c:v>
                </c:pt>
                <c:pt idx="295">
                  <c:v>1197</c:v>
                </c:pt>
                <c:pt idx="296">
                  <c:v>1198</c:v>
                </c:pt>
                <c:pt idx="297">
                  <c:v>1196</c:v>
                </c:pt>
                <c:pt idx="298">
                  <c:v>1196</c:v>
                </c:pt>
                <c:pt idx="299">
                  <c:v>1196</c:v>
                </c:pt>
                <c:pt idx="300">
                  <c:v>1196</c:v>
                </c:pt>
                <c:pt idx="301">
                  <c:v>1196</c:v>
                </c:pt>
                <c:pt idx="302">
                  <c:v>1196</c:v>
                </c:pt>
                <c:pt idx="303">
                  <c:v>1197</c:v>
                </c:pt>
                <c:pt idx="304">
                  <c:v>1195</c:v>
                </c:pt>
                <c:pt idx="305">
                  <c:v>1195</c:v>
                </c:pt>
                <c:pt idx="306">
                  <c:v>1196</c:v>
                </c:pt>
                <c:pt idx="307">
                  <c:v>1196</c:v>
                </c:pt>
                <c:pt idx="308">
                  <c:v>1196</c:v>
                </c:pt>
                <c:pt idx="309">
                  <c:v>1197</c:v>
                </c:pt>
                <c:pt idx="310">
                  <c:v>1197</c:v>
                </c:pt>
                <c:pt idx="311">
                  <c:v>1197</c:v>
                </c:pt>
                <c:pt idx="312">
                  <c:v>1197</c:v>
                </c:pt>
                <c:pt idx="313">
                  <c:v>1198</c:v>
                </c:pt>
                <c:pt idx="314">
                  <c:v>1198</c:v>
                </c:pt>
                <c:pt idx="315">
                  <c:v>1198</c:v>
                </c:pt>
                <c:pt idx="316">
                  <c:v>1198</c:v>
                </c:pt>
                <c:pt idx="317">
                  <c:v>1198</c:v>
                </c:pt>
                <c:pt idx="318">
                  <c:v>1197</c:v>
                </c:pt>
                <c:pt idx="319">
                  <c:v>1197</c:v>
                </c:pt>
                <c:pt idx="320">
                  <c:v>1197</c:v>
                </c:pt>
                <c:pt idx="321">
                  <c:v>1197</c:v>
                </c:pt>
                <c:pt idx="322">
                  <c:v>1196</c:v>
                </c:pt>
                <c:pt idx="323">
                  <c:v>1197</c:v>
                </c:pt>
                <c:pt idx="324">
                  <c:v>1196</c:v>
                </c:pt>
                <c:pt idx="325">
                  <c:v>1196</c:v>
                </c:pt>
                <c:pt idx="326">
                  <c:v>1196</c:v>
                </c:pt>
                <c:pt idx="327">
                  <c:v>1195</c:v>
                </c:pt>
                <c:pt idx="328">
                  <c:v>1194</c:v>
                </c:pt>
                <c:pt idx="329">
                  <c:v>1195</c:v>
                </c:pt>
                <c:pt idx="330">
                  <c:v>1196</c:v>
                </c:pt>
                <c:pt idx="331">
                  <c:v>1196</c:v>
                </c:pt>
                <c:pt idx="332">
                  <c:v>1196</c:v>
                </c:pt>
                <c:pt idx="333">
                  <c:v>1196</c:v>
                </c:pt>
                <c:pt idx="334">
                  <c:v>1196</c:v>
                </c:pt>
                <c:pt idx="335">
                  <c:v>1196</c:v>
                </c:pt>
                <c:pt idx="336">
                  <c:v>1195</c:v>
                </c:pt>
                <c:pt idx="337">
                  <c:v>1195</c:v>
                </c:pt>
                <c:pt idx="338">
                  <c:v>1194</c:v>
                </c:pt>
                <c:pt idx="339">
                  <c:v>1194</c:v>
                </c:pt>
                <c:pt idx="340">
                  <c:v>1194</c:v>
                </c:pt>
                <c:pt idx="341">
                  <c:v>1195</c:v>
                </c:pt>
                <c:pt idx="342">
                  <c:v>1195</c:v>
                </c:pt>
                <c:pt idx="343">
                  <c:v>1194</c:v>
                </c:pt>
                <c:pt idx="344">
                  <c:v>1194</c:v>
                </c:pt>
                <c:pt idx="345">
                  <c:v>1194</c:v>
                </c:pt>
                <c:pt idx="346">
                  <c:v>1194</c:v>
                </c:pt>
                <c:pt idx="347">
                  <c:v>1194</c:v>
                </c:pt>
                <c:pt idx="348">
                  <c:v>1194</c:v>
                </c:pt>
                <c:pt idx="349">
                  <c:v>1195</c:v>
                </c:pt>
                <c:pt idx="350">
                  <c:v>1195</c:v>
                </c:pt>
                <c:pt idx="351">
                  <c:v>1195</c:v>
                </c:pt>
                <c:pt idx="352">
                  <c:v>1196</c:v>
                </c:pt>
                <c:pt idx="353">
                  <c:v>1195</c:v>
                </c:pt>
                <c:pt idx="354">
                  <c:v>1195</c:v>
                </c:pt>
                <c:pt idx="355">
                  <c:v>1195</c:v>
                </c:pt>
                <c:pt idx="356">
                  <c:v>1198</c:v>
                </c:pt>
                <c:pt idx="357">
                  <c:v>1198</c:v>
                </c:pt>
                <c:pt idx="358">
                  <c:v>1198</c:v>
                </c:pt>
                <c:pt idx="359">
                  <c:v>1198</c:v>
                </c:pt>
                <c:pt idx="360">
                  <c:v>1199</c:v>
                </c:pt>
                <c:pt idx="361">
                  <c:v>1198</c:v>
                </c:pt>
                <c:pt idx="362">
                  <c:v>1198</c:v>
                </c:pt>
                <c:pt idx="363">
                  <c:v>1198</c:v>
                </c:pt>
                <c:pt idx="364">
                  <c:v>1198</c:v>
                </c:pt>
                <c:pt idx="365">
                  <c:v>1204</c:v>
                </c:pt>
                <c:pt idx="366">
                  <c:v>1209</c:v>
                </c:pt>
                <c:pt idx="367">
                  <c:v>1212</c:v>
                </c:pt>
                <c:pt idx="368">
                  <c:v>1213</c:v>
                </c:pt>
                <c:pt idx="369">
                  <c:v>1212</c:v>
                </c:pt>
                <c:pt idx="370">
                  <c:v>1217</c:v>
                </c:pt>
                <c:pt idx="371">
                  <c:v>1215</c:v>
                </c:pt>
                <c:pt idx="372">
                  <c:v>1216</c:v>
                </c:pt>
                <c:pt idx="373">
                  <c:v>1217</c:v>
                </c:pt>
                <c:pt idx="374">
                  <c:v>1218</c:v>
                </c:pt>
                <c:pt idx="375">
                  <c:v>1217</c:v>
                </c:pt>
                <c:pt idx="376">
                  <c:v>1216</c:v>
                </c:pt>
                <c:pt idx="377">
                  <c:v>1217</c:v>
                </c:pt>
                <c:pt idx="378">
                  <c:v>1218</c:v>
                </c:pt>
                <c:pt idx="379">
                  <c:v>1217</c:v>
                </c:pt>
                <c:pt idx="380">
                  <c:v>1216</c:v>
                </c:pt>
                <c:pt idx="381">
                  <c:v>1213</c:v>
                </c:pt>
                <c:pt idx="382">
                  <c:v>1211</c:v>
                </c:pt>
                <c:pt idx="383">
                  <c:v>1211</c:v>
                </c:pt>
                <c:pt idx="384">
                  <c:v>1216</c:v>
                </c:pt>
                <c:pt idx="385">
                  <c:v>1216</c:v>
                </c:pt>
                <c:pt idx="386">
                  <c:v>1216</c:v>
                </c:pt>
                <c:pt idx="387">
                  <c:v>1214</c:v>
                </c:pt>
                <c:pt idx="388">
                  <c:v>1214</c:v>
                </c:pt>
                <c:pt idx="389">
                  <c:v>1215</c:v>
                </c:pt>
                <c:pt idx="390">
                  <c:v>1216</c:v>
                </c:pt>
                <c:pt idx="391">
                  <c:v>1222</c:v>
                </c:pt>
                <c:pt idx="392">
                  <c:v>1222</c:v>
                </c:pt>
                <c:pt idx="393">
                  <c:v>1228</c:v>
                </c:pt>
                <c:pt idx="394">
                  <c:v>1229</c:v>
                </c:pt>
                <c:pt idx="395">
                  <c:v>1231</c:v>
                </c:pt>
                <c:pt idx="396">
                  <c:v>1231</c:v>
                </c:pt>
                <c:pt idx="397">
                  <c:v>1231</c:v>
                </c:pt>
                <c:pt idx="398">
                  <c:v>1236</c:v>
                </c:pt>
                <c:pt idx="399">
                  <c:v>1240</c:v>
                </c:pt>
                <c:pt idx="400">
                  <c:v>1248</c:v>
                </c:pt>
                <c:pt idx="401">
                  <c:v>1248</c:v>
                </c:pt>
                <c:pt idx="402">
                  <c:v>1274</c:v>
                </c:pt>
                <c:pt idx="403">
                  <c:v>1275</c:v>
                </c:pt>
                <c:pt idx="404">
                  <c:v>1273</c:v>
                </c:pt>
                <c:pt idx="405">
                  <c:v>1276</c:v>
                </c:pt>
                <c:pt idx="406">
                  <c:v>1273</c:v>
                </c:pt>
                <c:pt idx="407">
                  <c:v>1291</c:v>
                </c:pt>
                <c:pt idx="408">
                  <c:v>1289</c:v>
                </c:pt>
                <c:pt idx="409">
                  <c:v>1295</c:v>
                </c:pt>
                <c:pt idx="410">
                  <c:v>1294</c:v>
                </c:pt>
                <c:pt idx="411">
                  <c:v>1294</c:v>
                </c:pt>
                <c:pt idx="412">
                  <c:v>1310</c:v>
                </c:pt>
                <c:pt idx="413">
                  <c:v>1315</c:v>
                </c:pt>
                <c:pt idx="414">
                  <c:v>1319</c:v>
                </c:pt>
                <c:pt idx="415">
                  <c:v>1321</c:v>
                </c:pt>
                <c:pt idx="416">
                  <c:v>1311</c:v>
                </c:pt>
                <c:pt idx="417">
                  <c:v>1305</c:v>
                </c:pt>
                <c:pt idx="418">
                  <c:v>1307</c:v>
                </c:pt>
                <c:pt idx="419">
                  <c:v>1339</c:v>
                </c:pt>
                <c:pt idx="420">
                  <c:v>1350</c:v>
                </c:pt>
                <c:pt idx="421">
                  <c:v>1373</c:v>
                </c:pt>
                <c:pt idx="422">
                  <c:v>1358</c:v>
                </c:pt>
                <c:pt idx="423">
                  <c:v>1381</c:v>
                </c:pt>
                <c:pt idx="424">
                  <c:v>1384</c:v>
                </c:pt>
                <c:pt idx="425">
                  <c:v>1394</c:v>
                </c:pt>
                <c:pt idx="426">
                  <c:v>1470</c:v>
                </c:pt>
                <c:pt idx="427">
                  <c:v>1493</c:v>
                </c:pt>
                <c:pt idx="428">
                  <c:v>1511</c:v>
                </c:pt>
                <c:pt idx="429">
                  <c:v>1573</c:v>
                </c:pt>
                <c:pt idx="430">
                  <c:v>1610</c:v>
                </c:pt>
                <c:pt idx="431">
                  <c:v>1611</c:v>
                </c:pt>
                <c:pt idx="432">
                  <c:v>1612</c:v>
                </c:pt>
                <c:pt idx="433">
                  <c:v>1686</c:v>
                </c:pt>
                <c:pt idx="434">
                  <c:v>1717</c:v>
                </c:pt>
                <c:pt idx="435">
                  <c:v>1735</c:v>
                </c:pt>
                <c:pt idx="436">
                  <c:v>1771</c:v>
                </c:pt>
                <c:pt idx="437">
                  <c:v>1811</c:v>
                </c:pt>
                <c:pt idx="438">
                  <c:v>1816</c:v>
                </c:pt>
                <c:pt idx="439">
                  <c:v>1828</c:v>
                </c:pt>
                <c:pt idx="440">
                  <c:v>1907</c:v>
                </c:pt>
                <c:pt idx="441">
                  <c:v>1907</c:v>
                </c:pt>
                <c:pt idx="442">
                  <c:v>1894</c:v>
                </c:pt>
                <c:pt idx="443">
                  <c:v>1941</c:v>
                </c:pt>
                <c:pt idx="444">
                  <c:v>2020</c:v>
                </c:pt>
                <c:pt idx="445">
                  <c:v>2011</c:v>
                </c:pt>
                <c:pt idx="446">
                  <c:v>2004</c:v>
                </c:pt>
                <c:pt idx="447">
                  <c:v>2111</c:v>
                </c:pt>
                <c:pt idx="448">
                  <c:v>2098</c:v>
                </c:pt>
                <c:pt idx="449">
                  <c:v>2118</c:v>
                </c:pt>
                <c:pt idx="450">
                  <c:v>2120</c:v>
                </c:pt>
                <c:pt idx="451">
                  <c:v>2162</c:v>
                </c:pt>
                <c:pt idx="452">
                  <c:v>2135</c:v>
                </c:pt>
                <c:pt idx="453">
                  <c:v>2124</c:v>
                </c:pt>
                <c:pt idx="454">
                  <c:v>2192</c:v>
                </c:pt>
                <c:pt idx="455">
                  <c:v>2152</c:v>
                </c:pt>
                <c:pt idx="456">
                  <c:v>2118</c:v>
                </c:pt>
                <c:pt idx="457">
                  <c:v>2137</c:v>
                </c:pt>
                <c:pt idx="458">
                  <c:v>1994</c:v>
                </c:pt>
                <c:pt idx="459">
                  <c:v>1980</c:v>
                </c:pt>
                <c:pt idx="460">
                  <c:v>1951</c:v>
                </c:pt>
                <c:pt idx="461">
                  <c:v>2007</c:v>
                </c:pt>
                <c:pt idx="462">
                  <c:v>1945</c:v>
                </c:pt>
                <c:pt idx="463">
                  <c:v>1914</c:v>
                </c:pt>
                <c:pt idx="464">
                  <c:v>1864</c:v>
                </c:pt>
                <c:pt idx="465">
                  <c:v>1803</c:v>
                </c:pt>
                <c:pt idx="466">
                  <c:v>1753</c:v>
                </c:pt>
                <c:pt idx="467">
                  <c:v>1745</c:v>
                </c:pt>
                <c:pt idx="468">
                  <c:v>1775</c:v>
                </c:pt>
                <c:pt idx="469">
                  <c:v>1732</c:v>
                </c:pt>
                <c:pt idx="470">
                  <c:v>1693</c:v>
                </c:pt>
                <c:pt idx="471">
                  <c:v>1646</c:v>
                </c:pt>
                <c:pt idx="472">
                  <c:v>1605</c:v>
                </c:pt>
                <c:pt idx="473">
                  <c:v>1511</c:v>
                </c:pt>
                <c:pt idx="474">
                  <c:v>1506</c:v>
                </c:pt>
                <c:pt idx="475">
                  <c:v>1533</c:v>
                </c:pt>
                <c:pt idx="476">
                  <c:v>1460</c:v>
                </c:pt>
                <c:pt idx="477">
                  <c:v>1408</c:v>
                </c:pt>
                <c:pt idx="478">
                  <c:v>1343</c:v>
                </c:pt>
                <c:pt idx="479">
                  <c:v>1307</c:v>
                </c:pt>
                <c:pt idx="480">
                  <c:v>1272</c:v>
                </c:pt>
                <c:pt idx="481">
                  <c:v>1258</c:v>
                </c:pt>
                <c:pt idx="482">
                  <c:v>1266</c:v>
                </c:pt>
                <c:pt idx="483">
                  <c:v>1223</c:v>
                </c:pt>
                <c:pt idx="484">
                  <c:v>1185</c:v>
                </c:pt>
                <c:pt idx="485">
                  <c:v>1158</c:v>
                </c:pt>
                <c:pt idx="486">
                  <c:v>1139</c:v>
                </c:pt>
                <c:pt idx="487">
                  <c:v>1110</c:v>
                </c:pt>
                <c:pt idx="488">
                  <c:v>1099</c:v>
                </c:pt>
                <c:pt idx="489">
                  <c:v>1110</c:v>
                </c:pt>
                <c:pt idx="490">
                  <c:v>1083</c:v>
                </c:pt>
                <c:pt idx="491">
                  <c:v>1074</c:v>
                </c:pt>
                <c:pt idx="492">
                  <c:v>1074</c:v>
                </c:pt>
                <c:pt idx="493">
                  <c:v>1074</c:v>
                </c:pt>
                <c:pt idx="494">
                  <c:v>1069</c:v>
                </c:pt>
                <c:pt idx="495">
                  <c:v>1066</c:v>
                </c:pt>
                <c:pt idx="496">
                  <c:v>1082</c:v>
                </c:pt>
                <c:pt idx="497">
                  <c:v>1063</c:v>
                </c:pt>
                <c:pt idx="498">
                  <c:v>1056</c:v>
                </c:pt>
                <c:pt idx="499">
                  <c:v>1048</c:v>
                </c:pt>
                <c:pt idx="500">
                  <c:v>1050</c:v>
                </c:pt>
                <c:pt idx="501">
                  <c:v>1050</c:v>
                </c:pt>
                <c:pt idx="502">
                  <c:v>1063</c:v>
                </c:pt>
                <c:pt idx="503">
                  <c:v>1125</c:v>
                </c:pt>
                <c:pt idx="504">
                  <c:v>1148</c:v>
                </c:pt>
                <c:pt idx="505">
                  <c:v>1177</c:v>
                </c:pt>
                <c:pt idx="506">
                  <c:v>1235</c:v>
                </c:pt>
                <c:pt idx="507">
                  <c:v>1295</c:v>
                </c:pt>
                <c:pt idx="508">
                  <c:v>1308</c:v>
                </c:pt>
                <c:pt idx="509">
                  <c:v>1313</c:v>
                </c:pt>
                <c:pt idx="510">
                  <c:v>1415</c:v>
                </c:pt>
                <c:pt idx="511">
                  <c:v>1515</c:v>
                </c:pt>
                <c:pt idx="512">
                  <c:v>1634</c:v>
                </c:pt>
                <c:pt idx="513">
                  <c:v>1705</c:v>
                </c:pt>
                <c:pt idx="514">
                  <c:v>1761</c:v>
                </c:pt>
                <c:pt idx="515">
                  <c:v>1743</c:v>
                </c:pt>
                <c:pt idx="516">
                  <c:v>1719</c:v>
                </c:pt>
                <c:pt idx="517">
                  <c:v>1802</c:v>
                </c:pt>
                <c:pt idx="518">
                  <c:v>1866</c:v>
                </c:pt>
                <c:pt idx="519">
                  <c:v>1953</c:v>
                </c:pt>
                <c:pt idx="520">
                  <c:v>2004</c:v>
                </c:pt>
                <c:pt idx="521">
                  <c:v>1995</c:v>
                </c:pt>
                <c:pt idx="522">
                  <c:v>1855</c:v>
                </c:pt>
                <c:pt idx="523">
                  <c:v>1738</c:v>
                </c:pt>
                <c:pt idx="524">
                  <c:v>1799</c:v>
                </c:pt>
                <c:pt idx="525">
                  <c:v>1785</c:v>
                </c:pt>
                <c:pt idx="526">
                  <c:v>1829</c:v>
                </c:pt>
                <c:pt idx="527">
                  <c:v>1879</c:v>
                </c:pt>
                <c:pt idx="528">
                  <c:v>1788</c:v>
                </c:pt>
                <c:pt idx="529">
                  <c:v>1622</c:v>
                </c:pt>
                <c:pt idx="530">
                  <c:v>1520</c:v>
                </c:pt>
                <c:pt idx="531">
                  <c:v>1539</c:v>
                </c:pt>
                <c:pt idx="532">
                  <c:v>1504</c:v>
                </c:pt>
                <c:pt idx="533">
                  <c:v>1567</c:v>
                </c:pt>
                <c:pt idx="534">
                  <c:v>1634</c:v>
                </c:pt>
                <c:pt idx="535">
                  <c:v>1429</c:v>
                </c:pt>
                <c:pt idx="536">
                  <c:v>1274</c:v>
                </c:pt>
                <c:pt idx="537">
                  <c:v>1170</c:v>
                </c:pt>
                <c:pt idx="538">
                  <c:v>1120</c:v>
                </c:pt>
                <c:pt idx="539">
                  <c:v>1014</c:v>
                </c:pt>
                <c:pt idx="540">
                  <c:v>1037</c:v>
                </c:pt>
                <c:pt idx="541">
                  <c:v>1023</c:v>
                </c:pt>
                <c:pt idx="542">
                  <c:v>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  <c:max val="44620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11</c:v>
                </c:pt>
                <c:pt idx="59">
                  <c:v>19</c:v>
                </c:pt>
                <c:pt idx="60">
                  <c:v>22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1</c:v>
                </c:pt>
                <c:pt idx="66">
                  <c:v>47</c:v>
                </c:pt>
                <c:pt idx="67">
                  <c:v>38</c:v>
                </c:pt>
                <c:pt idx="68">
                  <c:v>57</c:v>
                </c:pt>
                <c:pt idx="69">
                  <c:v>63</c:v>
                </c:pt>
                <c:pt idx="70">
                  <c:v>81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3</c:v>
                </c:pt>
                <c:pt idx="75">
                  <c:v>110</c:v>
                </c:pt>
                <c:pt idx="76">
                  <c:v>121</c:v>
                </c:pt>
                <c:pt idx="77">
                  <c:v>129</c:v>
                </c:pt>
                <c:pt idx="78">
                  <c:v>112</c:v>
                </c:pt>
                <c:pt idx="79">
                  <c:v>134</c:v>
                </c:pt>
                <c:pt idx="80">
                  <c:v>143</c:v>
                </c:pt>
                <c:pt idx="81">
                  <c:v>160</c:v>
                </c:pt>
                <c:pt idx="82">
                  <c:v>189</c:v>
                </c:pt>
                <c:pt idx="83">
                  <c:v>162</c:v>
                </c:pt>
                <c:pt idx="84">
                  <c:v>199</c:v>
                </c:pt>
                <c:pt idx="85">
                  <c:v>202</c:v>
                </c:pt>
                <c:pt idx="86">
                  <c:v>187</c:v>
                </c:pt>
                <c:pt idx="87">
                  <c:v>182</c:v>
                </c:pt>
                <c:pt idx="88">
                  <c:v>153</c:v>
                </c:pt>
                <c:pt idx="89">
                  <c:v>106</c:v>
                </c:pt>
                <c:pt idx="90">
                  <c:v>94</c:v>
                </c:pt>
                <c:pt idx="91">
                  <c:v>64</c:v>
                </c:pt>
                <c:pt idx="92">
                  <c:v>61</c:v>
                </c:pt>
                <c:pt idx="93">
                  <c:v>51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4</c:v>
                </c:pt>
                <c:pt idx="7">
                  <c:v>17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14</c:v>
                </c:pt>
                <c:pt idx="12">
                  <c:v>32</c:v>
                </c:pt>
                <c:pt idx="13">
                  <c:v>20</c:v>
                </c:pt>
                <c:pt idx="14">
                  <c:v>29</c:v>
                </c:pt>
                <c:pt idx="15">
                  <c:v>25</c:v>
                </c:pt>
                <c:pt idx="16">
                  <c:v>37</c:v>
                </c:pt>
                <c:pt idx="17">
                  <c:v>30</c:v>
                </c:pt>
                <c:pt idx="18">
                  <c:v>27</c:v>
                </c:pt>
                <c:pt idx="19">
                  <c:v>38</c:v>
                </c:pt>
                <c:pt idx="20">
                  <c:v>49</c:v>
                </c:pt>
                <c:pt idx="21">
                  <c:v>58</c:v>
                </c:pt>
                <c:pt idx="22">
                  <c:v>66</c:v>
                </c:pt>
                <c:pt idx="23">
                  <c:v>63</c:v>
                </c:pt>
                <c:pt idx="24">
                  <c:v>81</c:v>
                </c:pt>
                <c:pt idx="25">
                  <c:v>73</c:v>
                </c:pt>
                <c:pt idx="26">
                  <c:v>79</c:v>
                </c:pt>
                <c:pt idx="27">
                  <c:v>83</c:v>
                </c:pt>
                <c:pt idx="28">
                  <c:v>84</c:v>
                </c:pt>
                <c:pt idx="29">
                  <c:v>88</c:v>
                </c:pt>
                <c:pt idx="30">
                  <c:v>99</c:v>
                </c:pt>
                <c:pt idx="31">
                  <c:v>93</c:v>
                </c:pt>
                <c:pt idx="32">
                  <c:v>86</c:v>
                </c:pt>
                <c:pt idx="33">
                  <c:v>98</c:v>
                </c:pt>
                <c:pt idx="34">
                  <c:v>132</c:v>
                </c:pt>
                <c:pt idx="35">
                  <c:v>106</c:v>
                </c:pt>
                <c:pt idx="36">
                  <c:v>135</c:v>
                </c:pt>
                <c:pt idx="37">
                  <c:v>151</c:v>
                </c:pt>
                <c:pt idx="38">
                  <c:v>136</c:v>
                </c:pt>
                <c:pt idx="39">
                  <c:v>142</c:v>
                </c:pt>
                <c:pt idx="40">
                  <c:v>161</c:v>
                </c:pt>
                <c:pt idx="41">
                  <c:v>156</c:v>
                </c:pt>
                <c:pt idx="42">
                  <c:v>162</c:v>
                </c:pt>
                <c:pt idx="43">
                  <c:v>160</c:v>
                </c:pt>
                <c:pt idx="44">
                  <c:v>140</c:v>
                </c:pt>
                <c:pt idx="45">
                  <c:v>146</c:v>
                </c:pt>
                <c:pt idx="46">
                  <c:v>154</c:v>
                </c:pt>
                <c:pt idx="47">
                  <c:v>169</c:v>
                </c:pt>
                <c:pt idx="48">
                  <c:v>140</c:v>
                </c:pt>
                <c:pt idx="49">
                  <c:v>160</c:v>
                </c:pt>
                <c:pt idx="50">
                  <c:v>170</c:v>
                </c:pt>
                <c:pt idx="51">
                  <c:v>197</c:v>
                </c:pt>
                <c:pt idx="52">
                  <c:v>185</c:v>
                </c:pt>
                <c:pt idx="53">
                  <c:v>184</c:v>
                </c:pt>
                <c:pt idx="54">
                  <c:v>160</c:v>
                </c:pt>
                <c:pt idx="55">
                  <c:v>197</c:v>
                </c:pt>
                <c:pt idx="56">
                  <c:v>227</c:v>
                </c:pt>
                <c:pt idx="57">
                  <c:v>224</c:v>
                </c:pt>
                <c:pt idx="58">
                  <c:v>243</c:v>
                </c:pt>
                <c:pt idx="59">
                  <c:v>280</c:v>
                </c:pt>
                <c:pt idx="60">
                  <c:v>333</c:v>
                </c:pt>
                <c:pt idx="61">
                  <c:v>308</c:v>
                </c:pt>
                <c:pt idx="62">
                  <c:v>342</c:v>
                </c:pt>
                <c:pt idx="63">
                  <c:v>356</c:v>
                </c:pt>
                <c:pt idx="64">
                  <c:v>374</c:v>
                </c:pt>
                <c:pt idx="65">
                  <c:v>457</c:v>
                </c:pt>
                <c:pt idx="66">
                  <c:v>480</c:v>
                </c:pt>
                <c:pt idx="67">
                  <c:v>492</c:v>
                </c:pt>
                <c:pt idx="68">
                  <c:v>583</c:v>
                </c:pt>
                <c:pt idx="69">
                  <c:v>629</c:v>
                </c:pt>
                <c:pt idx="70">
                  <c:v>661</c:v>
                </c:pt>
                <c:pt idx="71">
                  <c:v>618</c:v>
                </c:pt>
                <c:pt idx="72">
                  <c:v>759</c:v>
                </c:pt>
                <c:pt idx="73">
                  <c:v>791</c:v>
                </c:pt>
                <c:pt idx="74">
                  <c:v>808</c:v>
                </c:pt>
                <c:pt idx="75">
                  <c:v>870</c:v>
                </c:pt>
                <c:pt idx="76">
                  <c:v>954</c:v>
                </c:pt>
                <c:pt idx="77">
                  <c:v>958</c:v>
                </c:pt>
                <c:pt idx="78">
                  <c:v>961</c:v>
                </c:pt>
                <c:pt idx="79">
                  <c:v>1079</c:v>
                </c:pt>
                <c:pt idx="80">
                  <c:v>1057</c:v>
                </c:pt>
                <c:pt idx="81">
                  <c:v>1197</c:v>
                </c:pt>
                <c:pt idx="82">
                  <c:v>1247</c:v>
                </c:pt>
                <c:pt idx="83">
                  <c:v>1270</c:v>
                </c:pt>
                <c:pt idx="84">
                  <c:v>1336</c:v>
                </c:pt>
                <c:pt idx="85">
                  <c:v>1273</c:v>
                </c:pt>
                <c:pt idx="86">
                  <c:v>1262</c:v>
                </c:pt>
                <c:pt idx="87">
                  <c:v>1076</c:v>
                </c:pt>
                <c:pt idx="88">
                  <c:v>945</c:v>
                </c:pt>
                <c:pt idx="89">
                  <c:v>772</c:v>
                </c:pt>
                <c:pt idx="90">
                  <c:v>550</c:v>
                </c:pt>
                <c:pt idx="91">
                  <c:v>429</c:v>
                </c:pt>
                <c:pt idx="92">
                  <c:v>325</c:v>
                </c:pt>
                <c:pt idx="93">
                  <c:v>239</c:v>
                </c:pt>
                <c:pt idx="94">
                  <c:v>156</c:v>
                </c:pt>
                <c:pt idx="95">
                  <c:v>100</c:v>
                </c:pt>
                <c:pt idx="96">
                  <c:v>46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Sheet1!$B$2:$B$544</c:f>
              <c:numCache>
                <c:formatCode>#\ ##0_ ;\-#\ ##0\ </c:formatCode>
                <c:ptCount val="543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1</c:v>
                </c:pt>
                <c:pt idx="44">
                  <c:v>203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6</c:v>
                </c:pt>
                <c:pt idx="49">
                  <c:v>202</c:v>
                </c:pt>
                <c:pt idx="50">
                  <c:v>327</c:v>
                </c:pt>
                <c:pt idx="51">
                  <c:v>237</c:v>
                </c:pt>
                <c:pt idx="52">
                  <c:v>424</c:v>
                </c:pt>
                <c:pt idx="53">
                  <c:v>228</c:v>
                </c:pt>
                <c:pt idx="54">
                  <c:v>198</c:v>
                </c:pt>
                <c:pt idx="55">
                  <c:v>390</c:v>
                </c:pt>
                <c:pt idx="56">
                  <c:v>536</c:v>
                </c:pt>
                <c:pt idx="57">
                  <c:v>263</c:v>
                </c:pt>
                <c:pt idx="58">
                  <c:v>545</c:v>
                </c:pt>
                <c:pt idx="59">
                  <c:v>589</c:v>
                </c:pt>
                <c:pt idx="60">
                  <c:v>339</c:v>
                </c:pt>
                <c:pt idx="61">
                  <c:v>214</c:v>
                </c:pt>
                <c:pt idx="62">
                  <c:v>337</c:v>
                </c:pt>
                <c:pt idx="63">
                  <c:v>349</c:v>
                </c:pt>
                <c:pt idx="64">
                  <c:v>426</c:v>
                </c:pt>
                <c:pt idx="65">
                  <c:v>541</c:v>
                </c:pt>
                <c:pt idx="66">
                  <c:v>494</c:v>
                </c:pt>
                <c:pt idx="67">
                  <c:v>215</c:v>
                </c:pt>
                <c:pt idx="68">
                  <c:v>80</c:v>
                </c:pt>
                <c:pt idx="69">
                  <c:v>207</c:v>
                </c:pt>
                <c:pt idx="70">
                  <c:v>386</c:v>
                </c:pt>
                <c:pt idx="71">
                  <c:v>681</c:v>
                </c:pt>
                <c:pt idx="72">
                  <c:v>503</c:v>
                </c:pt>
                <c:pt idx="73">
                  <c:v>486</c:v>
                </c:pt>
                <c:pt idx="74">
                  <c:v>183</c:v>
                </c:pt>
                <c:pt idx="75">
                  <c:v>170</c:v>
                </c:pt>
                <c:pt idx="76">
                  <c:v>391</c:v>
                </c:pt>
                <c:pt idx="77">
                  <c:v>139</c:v>
                </c:pt>
                <c:pt idx="78">
                  <c:v>269</c:v>
                </c:pt>
                <c:pt idx="79">
                  <c:v>273</c:v>
                </c:pt>
                <c:pt idx="80">
                  <c:v>244</c:v>
                </c:pt>
                <c:pt idx="81">
                  <c:v>95</c:v>
                </c:pt>
                <c:pt idx="82">
                  <c:v>92</c:v>
                </c:pt>
                <c:pt idx="83">
                  <c:v>385</c:v>
                </c:pt>
                <c:pt idx="84">
                  <c:v>201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78</c:v>
                </c:pt>
                <c:pt idx="89">
                  <c:v>30</c:v>
                </c:pt>
                <c:pt idx="90">
                  <c:v>213</c:v>
                </c:pt>
                <c:pt idx="91">
                  <c:v>125</c:v>
                </c:pt>
                <c:pt idx="92">
                  <c:v>134</c:v>
                </c:pt>
                <c:pt idx="93">
                  <c:v>131</c:v>
                </c:pt>
                <c:pt idx="94">
                  <c:v>148</c:v>
                </c:pt>
                <c:pt idx="95">
                  <c:v>90</c:v>
                </c:pt>
                <c:pt idx="96">
                  <c:v>22</c:v>
                </c:pt>
                <c:pt idx="97">
                  <c:v>143</c:v>
                </c:pt>
                <c:pt idx="98">
                  <c:v>91</c:v>
                </c:pt>
                <c:pt idx="99">
                  <c:v>141</c:v>
                </c:pt>
                <c:pt idx="100">
                  <c:v>85</c:v>
                </c:pt>
                <c:pt idx="101">
                  <c:v>234</c:v>
                </c:pt>
                <c:pt idx="102">
                  <c:v>67</c:v>
                </c:pt>
                <c:pt idx="103">
                  <c:v>50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69</c:v>
                </c:pt>
                <c:pt idx="108">
                  <c:v>223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8</c:v>
                </c:pt>
                <c:pt idx="113">
                  <c:v>124</c:v>
                </c:pt>
                <c:pt idx="114">
                  <c:v>18</c:v>
                </c:pt>
                <c:pt idx="115">
                  <c:v>72</c:v>
                </c:pt>
                <c:pt idx="116">
                  <c:v>79</c:v>
                </c:pt>
                <c:pt idx="117">
                  <c:v>98</c:v>
                </c:pt>
                <c:pt idx="118">
                  <c:v>166</c:v>
                </c:pt>
                <c:pt idx="119">
                  <c:v>186</c:v>
                </c:pt>
                <c:pt idx="120">
                  <c:v>149</c:v>
                </c:pt>
                <c:pt idx="121">
                  <c:v>136</c:v>
                </c:pt>
                <c:pt idx="122">
                  <c:v>67</c:v>
                </c:pt>
                <c:pt idx="123">
                  <c:v>61</c:v>
                </c:pt>
                <c:pt idx="124">
                  <c:v>43</c:v>
                </c:pt>
                <c:pt idx="125">
                  <c:v>270</c:v>
                </c:pt>
                <c:pt idx="126">
                  <c:v>156</c:v>
                </c:pt>
                <c:pt idx="127">
                  <c:v>163</c:v>
                </c:pt>
                <c:pt idx="128">
                  <c:v>234</c:v>
                </c:pt>
                <c:pt idx="129">
                  <c:v>189</c:v>
                </c:pt>
                <c:pt idx="130">
                  <c:v>66</c:v>
                </c:pt>
                <c:pt idx="131">
                  <c:v>36</c:v>
                </c:pt>
                <c:pt idx="132">
                  <c:v>243</c:v>
                </c:pt>
                <c:pt idx="133">
                  <c:v>128</c:v>
                </c:pt>
                <c:pt idx="134">
                  <c:v>175</c:v>
                </c:pt>
                <c:pt idx="135">
                  <c:v>98</c:v>
                </c:pt>
                <c:pt idx="136">
                  <c:v>89</c:v>
                </c:pt>
                <c:pt idx="137">
                  <c:v>35</c:v>
                </c:pt>
                <c:pt idx="138">
                  <c:v>47</c:v>
                </c:pt>
                <c:pt idx="139">
                  <c:v>166</c:v>
                </c:pt>
                <c:pt idx="140">
                  <c:v>84</c:v>
                </c:pt>
                <c:pt idx="141">
                  <c:v>147</c:v>
                </c:pt>
                <c:pt idx="142">
                  <c:v>108</c:v>
                </c:pt>
                <c:pt idx="143">
                  <c:v>119</c:v>
                </c:pt>
                <c:pt idx="144">
                  <c:v>53</c:v>
                </c:pt>
                <c:pt idx="145">
                  <c:v>26</c:v>
                </c:pt>
                <c:pt idx="146">
                  <c:v>87</c:v>
                </c:pt>
                <c:pt idx="147">
                  <c:v>43</c:v>
                </c:pt>
                <c:pt idx="148">
                  <c:v>96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7</c:v>
                </c:pt>
                <c:pt idx="155">
                  <c:v>103</c:v>
                </c:pt>
                <c:pt idx="156">
                  <c:v>85</c:v>
                </c:pt>
                <c:pt idx="157">
                  <c:v>87</c:v>
                </c:pt>
                <c:pt idx="158">
                  <c:v>44</c:v>
                </c:pt>
                <c:pt idx="159">
                  <c:v>16</c:v>
                </c:pt>
                <c:pt idx="160">
                  <c:v>66</c:v>
                </c:pt>
                <c:pt idx="161">
                  <c:v>66</c:v>
                </c:pt>
                <c:pt idx="162">
                  <c:v>68</c:v>
                </c:pt>
                <c:pt idx="163">
                  <c:v>69</c:v>
                </c:pt>
                <c:pt idx="164">
                  <c:v>52</c:v>
                </c:pt>
                <c:pt idx="165">
                  <c:v>8</c:v>
                </c:pt>
                <c:pt idx="166">
                  <c:v>14</c:v>
                </c:pt>
                <c:pt idx="167">
                  <c:v>37</c:v>
                </c:pt>
                <c:pt idx="168">
                  <c:v>19</c:v>
                </c:pt>
                <c:pt idx="169">
                  <c:v>30</c:v>
                </c:pt>
                <c:pt idx="170">
                  <c:v>30</c:v>
                </c:pt>
                <c:pt idx="171">
                  <c:v>28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8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8</c:v>
                </c:pt>
                <c:pt idx="183">
                  <c:v>47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6</c:v>
                </c:pt>
                <c:pt idx="188">
                  <c:v>27</c:v>
                </c:pt>
                <c:pt idx="189">
                  <c:v>106</c:v>
                </c:pt>
                <c:pt idx="190">
                  <c:v>60</c:v>
                </c:pt>
                <c:pt idx="191">
                  <c:v>13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1</c:v>
                </c:pt>
                <c:pt idx="196">
                  <c:v>21</c:v>
                </c:pt>
                <c:pt idx="197">
                  <c:v>12</c:v>
                </c:pt>
                <c:pt idx="198">
                  <c:v>37</c:v>
                </c:pt>
                <c:pt idx="199">
                  <c:v>18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0</c:v>
                </c:pt>
                <c:pt idx="204">
                  <c:v>21</c:v>
                </c:pt>
                <c:pt idx="205">
                  <c:v>32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3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3</c:v>
                </c:pt>
                <c:pt idx="225">
                  <c:v>3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2</c:v>
                </c:pt>
                <c:pt idx="230">
                  <c:v>5</c:v>
                </c:pt>
                <c:pt idx="231">
                  <c:v>5</c:v>
                </c:pt>
                <c:pt idx="232">
                  <c:v>3</c:v>
                </c:pt>
                <c:pt idx="233">
                  <c:v>13</c:v>
                </c:pt>
                <c:pt idx="234">
                  <c:v>7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3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9</c:v>
                </c:pt>
                <c:pt idx="460">
                  <c:v>7</c:v>
                </c:pt>
                <c:pt idx="461">
                  <c:v>31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6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7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>
                  <c:v>0</c:v>
                </c:pt>
                <c:pt idx="489">
                  <c:v>4</c:v>
                </c:pt>
                <c:pt idx="490">
                  <c:v>5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2</c:v>
                </c:pt>
                <c:pt idx="505">
                  <c:v>11</c:v>
                </c:pt>
                <c:pt idx="506">
                  <c:v>21</c:v>
                </c:pt>
                <c:pt idx="507">
                  <c:v>15</c:v>
                </c:pt>
                <c:pt idx="508">
                  <c:v>32</c:v>
                </c:pt>
                <c:pt idx="509">
                  <c:v>6</c:v>
                </c:pt>
                <c:pt idx="510">
                  <c:v>44</c:v>
                </c:pt>
                <c:pt idx="511">
                  <c:v>41</c:v>
                </c:pt>
                <c:pt idx="512">
                  <c:v>39</c:v>
                </c:pt>
                <c:pt idx="513">
                  <c:v>25</c:v>
                </c:pt>
                <c:pt idx="514">
                  <c:v>48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2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4</c:v>
                </c:pt>
                <c:pt idx="524">
                  <c:v>88</c:v>
                </c:pt>
                <c:pt idx="525">
                  <c:v>50</c:v>
                </c:pt>
                <c:pt idx="526">
                  <c:v>29</c:v>
                </c:pt>
                <c:pt idx="527">
                  <c:v>40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59</c:v>
                </c:pt>
                <c:pt idx="532">
                  <c:v>51</c:v>
                </c:pt>
                <c:pt idx="533">
                  <c:v>50</c:v>
                </c:pt>
                <c:pt idx="534">
                  <c:v>82</c:v>
                </c:pt>
                <c:pt idx="535">
                  <c:v>32</c:v>
                </c:pt>
                <c:pt idx="536">
                  <c:v>10</c:v>
                </c:pt>
                <c:pt idx="537">
                  <c:v>9</c:v>
                </c:pt>
                <c:pt idx="538">
                  <c:v>36</c:v>
                </c:pt>
                <c:pt idx="539">
                  <c:v>51</c:v>
                </c:pt>
                <c:pt idx="540">
                  <c:v>47</c:v>
                </c:pt>
                <c:pt idx="541">
                  <c:v>42</c:v>
                </c:pt>
                <c:pt idx="54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  <c:max val="44620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Sheet1!$B$2:$B$544</c:f>
              <c:numCache>
                <c:formatCode>#\ ##0_ ;\-#\ ##0\ </c:formatCode>
                <c:ptCount val="543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5</c:v>
                </c:pt>
                <c:pt idx="21">
                  <c:v>6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6</c:v>
                </c:pt>
                <c:pt idx="29">
                  <c:v>10</c:v>
                </c:pt>
                <c:pt idx="30">
                  <c:v>30</c:v>
                </c:pt>
                <c:pt idx="31">
                  <c:v>97</c:v>
                </c:pt>
                <c:pt idx="32">
                  <c:v>31</c:v>
                </c:pt>
                <c:pt idx="33">
                  <c:v>31</c:v>
                </c:pt>
                <c:pt idx="34">
                  <c:v>99</c:v>
                </c:pt>
                <c:pt idx="35">
                  <c:v>51</c:v>
                </c:pt>
                <c:pt idx="36">
                  <c:v>43</c:v>
                </c:pt>
                <c:pt idx="37">
                  <c:v>86</c:v>
                </c:pt>
                <c:pt idx="38">
                  <c:v>93</c:v>
                </c:pt>
                <c:pt idx="39">
                  <c:v>51</c:v>
                </c:pt>
                <c:pt idx="40">
                  <c:v>26</c:v>
                </c:pt>
                <c:pt idx="41">
                  <c:v>176</c:v>
                </c:pt>
                <c:pt idx="42">
                  <c:v>163</c:v>
                </c:pt>
                <c:pt idx="43">
                  <c:v>199</c:v>
                </c:pt>
                <c:pt idx="44">
                  <c:v>210</c:v>
                </c:pt>
                <c:pt idx="45">
                  <c:v>216</c:v>
                </c:pt>
                <c:pt idx="46">
                  <c:v>107</c:v>
                </c:pt>
                <c:pt idx="47">
                  <c:v>50</c:v>
                </c:pt>
                <c:pt idx="48">
                  <c:v>201</c:v>
                </c:pt>
                <c:pt idx="49">
                  <c:v>202</c:v>
                </c:pt>
                <c:pt idx="50">
                  <c:v>272</c:v>
                </c:pt>
                <c:pt idx="51">
                  <c:v>241</c:v>
                </c:pt>
                <c:pt idx="52">
                  <c:v>342</c:v>
                </c:pt>
                <c:pt idx="53">
                  <c:v>190</c:v>
                </c:pt>
                <c:pt idx="54">
                  <c:v>90</c:v>
                </c:pt>
                <c:pt idx="55">
                  <c:v>385</c:v>
                </c:pt>
                <c:pt idx="56">
                  <c:v>420</c:v>
                </c:pt>
                <c:pt idx="57">
                  <c:v>137</c:v>
                </c:pt>
                <c:pt idx="58">
                  <c:v>485</c:v>
                </c:pt>
                <c:pt idx="59">
                  <c:v>345</c:v>
                </c:pt>
                <c:pt idx="60">
                  <c:v>187</c:v>
                </c:pt>
                <c:pt idx="61">
                  <c:v>120</c:v>
                </c:pt>
                <c:pt idx="62">
                  <c:v>316</c:v>
                </c:pt>
                <c:pt idx="63">
                  <c:v>243</c:v>
                </c:pt>
                <c:pt idx="64">
                  <c:v>346</c:v>
                </c:pt>
                <c:pt idx="65">
                  <c:v>294</c:v>
                </c:pt>
                <c:pt idx="66">
                  <c:v>246</c:v>
                </c:pt>
                <c:pt idx="67">
                  <c:v>121</c:v>
                </c:pt>
                <c:pt idx="68">
                  <c:v>51</c:v>
                </c:pt>
                <c:pt idx="69">
                  <c:v>208</c:v>
                </c:pt>
                <c:pt idx="70">
                  <c:v>212</c:v>
                </c:pt>
                <c:pt idx="71">
                  <c:v>273</c:v>
                </c:pt>
                <c:pt idx="72">
                  <c:v>247</c:v>
                </c:pt>
                <c:pt idx="73">
                  <c:v>210</c:v>
                </c:pt>
                <c:pt idx="74">
                  <c:v>76</c:v>
                </c:pt>
                <c:pt idx="75">
                  <c:v>32</c:v>
                </c:pt>
                <c:pt idx="76">
                  <c:v>198</c:v>
                </c:pt>
                <c:pt idx="77">
                  <c:v>52</c:v>
                </c:pt>
                <c:pt idx="78">
                  <c:v>169</c:v>
                </c:pt>
                <c:pt idx="79">
                  <c:v>137</c:v>
                </c:pt>
                <c:pt idx="80">
                  <c:v>127</c:v>
                </c:pt>
                <c:pt idx="81">
                  <c:v>41</c:v>
                </c:pt>
                <c:pt idx="82">
                  <c:v>19</c:v>
                </c:pt>
                <c:pt idx="83">
                  <c:v>150</c:v>
                </c:pt>
                <c:pt idx="84">
                  <c:v>111</c:v>
                </c:pt>
                <c:pt idx="85">
                  <c:v>96</c:v>
                </c:pt>
                <c:pt idx="86">
                  <c:v>58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3</c:v>
                </c:pt>
                <c:pt idx="91">
                  <c:v>91</c:v>
                </c:pt>
                <c:pt idx="92">
                  <c:v>74</c:v>
                </c:pt>
                <c:pt idx="93">
                  <c:v>63</c:v>
                </c:pt>
                <c:pt idx="94">
                  <c:v>93</c:v>
                </c:pt>
                <c:pt idx="95">
                  <c:v>42</c:v>
                </c:pt>
                <c:pt idx="96">
                  <c:v>27</c:v>
                </c:pt>
                <c:pt idx="97">
                  <c:v>121</c:v>
                </c:pt>
                <c:pt idx="98">
                  <c:v>79</c:v>
                </c:pt>
                <c:pt idx="99">
                  <c:v>66</c:v>
                </c:pt>
                <c:pt idx="100">
                  <c:v>62</c:v>
                </c:pt>
                <c:pt idx="101">
                  <c:v>80</c:v>
                </c:pt>
                <c:pt idx="102">
                  <c:v>21</c:v>
                </c:pt>
                <c:pt idx="103">
                  <c:v>18</c:v>
                </c:pt>
                <c:pt idx="104">
                  <c:v>141</c:v>
                </c:pt>
                <c:pt idx="105">
                  <c:v>73</c:v>
                </c:pt>
                <c:pt idx="106">
                  <c:v>98</c:v>
                </c:pt>
                <c:pt idx="107">
                  <c:v>54</c:v>
                </c:pt>
                <c:pt idx="108">
                  <c:v>89</c:v>
                </c:pt>
                <c:pt idx="109">
                  <c:v>32</c:v>
                </c:pt>
                <c:pt idx="110">
                  <c:v>29</c:v>
                </c:pt>
                <c:pt idx="111">
                  <c:v>167</c:v>
                </c:pt>
                <c:pt idx="112">
                  <c:v>117</c:v>
                </c:pt>
                <c:pt idx="113">
                  <c:v>126</c:v>
                </c:pt>
                <c:pt idx="114">
                  <c:v>32</c:v>
                </c:pt>
                <c:pt idx="115">
                  <c:v>51</c:v>
                </c:pt>
                <c:pt idx="116">
                  <c:v>53</c:v>
                </c:pt>
                <c:pt idx="117">
                  <c:v>49</c:v>
                </c:pt>
                <c:pt idx="118">
                  <c:v>197</c:v>
                </c:pt>
                <c:pt idx="119">
                  <c:v>148</c:v>
                </c:pt>
                <c:pt idx="120">
                  <c:v>114</c:v>
                </c:pt>
                <c:pt idx="121">
                  <c:v>93</c:v>
                </c:pt>
                <c:pt idx="122">
                  <c:v>34</c:v>
                </c:pt>
                <c:pt idx="123">
                  <c:v>66</c:v>
                </c:pt>
                <c:pt idx="124">
                  <c:v>40</c:v>
                </c:pt>
                <c:pt idx="125">
                  <c:v>298</c:v>
                </c:pt>
                <c:pt idx="126">
                  <c:v>151</c:v>
                </c:pt>
                <c:pt idx="127">
                  <c:v>121</c:v>
                </c:pt>
                <c:pt idx="128">
                  <c:v>109</c:v>
                </c:pt>
                <c:pt idx="129">
                  <c:v>134</c:v>
                </c:pt>
                <c:pt idx="130">
                  <c:v>57</c:v>
                </c:pt>
                <c:pt idx="131">
                  <c:v>27</c:v>
                </c:pt>
                <c:pt idx="132">
                  <c:v>248</c:v>
                </c:pt>
                <c:pt idx="133">
                  <c:v>100</c:v>
                </c:pt>
                <c:pt idx="134">
                  <c:v>112</c:v>
                </c:pt>
                <c:pt idx="135">
                  <c:v>58</c:v>
                </c:pt>
                <c:pt idx="136">
                  <c:v>71</c:v>
                </c:pt>
                <c:pt idx="137">
                  <c:v>36</c:v>
                </c:pt>
                <c:pt idx="138">
                  <c:v>29</c:v>
                </c:pt>
                <c:pt idx="139">
                  <c:v>132</c:v>
                </c:pt>
                <c:pt idx="140">
                  <c:v>77</c:v>
                </c:pt>
                <c:pt idx="141">
                  <c:v>73</c:v>
                </c:pt>
                <c:pt idx="142">
                  <c:v>69</c:v>
                </c:pt>
                <c:pt idx="143">
                  <c:v>83</c:v>
                </c:pt>
                <c:pt idx="144">
                  <c:v>28</c:v>
                </c:pt>
                <c:pt idx="145">
                  <c:v>14</c:v>
                </c:pt>
                <c:pt idx="146">
                  <c:v>92</c:v>
                </c:pt>
                <c:pt idx="147">
                  <c:v>79</c:v>
                </c:pt>
                <c:pt idx="148">
                  <c:v>60</c:v>
                </c:pt>
                <c:pt idx="149">
                  <c:v>36</c:v>
                </c:pt>
                <c:pt idx="150">
                  <c:v>49</c:v>
                </c:pt>
                <c:pt idx="151">
                  <c:v>31</c:v>
                </c:pt>
                <c:pt idx="152">
                  <c:v>14</c:v>
                </c:pt>
                <c:pt idx="153">
                  <c:v>83</c:v>
                </c:pt>
                <c:pt idx="154">
                  <c:v>76</c:v>
                </c:pt>
                <c:pt idx="155">
                  <c:v>60</c:v>
                </c:pt>
                <c:pt idx="156">
                  <c:v>47</c:v>
                </c:pt>
                <c:pt idx="157">
                  <c:v>52</c:v>
                </c:pt>
                <c:pt idx="158">
                  <c:v>13</c:v>
                </c:pt>
                <c:pt idx="159">
                  <c:v>18</c:v>
                </c:pt>
                <c:pt idx="160">
                  <c:v>76</c:v>
                </c:pt>
                <c:pt idx="161">
                  <c:v>22</c:v>
                </c:pt>
                <c:pt idx="162">
                  <c:v>34</c:v>
                </c:pt>
                <c:pt idx="163">
                  <c:v>42</c:v>
                </c:pt>
                <c:pt idx="164">
                  <c:v>40</c:v>
                </c:pt>
                <c:pt idx="165">
                  <c:v>15</c:v>
                </c:pt>
                <c:pt idx="166">
                  <c:v>16</c:v>
                </c:pt>
                <c:pt idx="167">
                  <c:v>65</c:v>
                </c:pt>
                <c:pt idx="168">
                  <c:v>34</c:v>
                </c:pt>
                <c:pt idx="169">
                  <c:v>36</c:v>
                </c:pt>
                <c:pt idx="170">
                  <c:v>35</c:v>
                </c:pt>
                <c:pt idx="171">
                  <c:v>40</c:v>
                </c:pt>
                <c:pt idx="172">
                  <c:v>8</c:v>
                </c:pt>
                <c:pt idx="173">
                  <c:v>23</c:v>
                </c:pt>
                <c:pt idx="174">
                  <c:v>80</c:v>
                </c:pt>
                <c:pt idx="175">
                  <c:v>48</c:v>
                </c:pt>
                <c:pt idx="176">
                  <c:v>37</c:v>
                </c:pt>
                <c:pt idx="177">
                  <c:v>35</c:v>
                </c:pt>
                <c:pt idx="178">
                  <c:v>46</c:v>
                </c:pt>
                <c:pt idx="179">
                  <c:v>12</c:v>
                </c:pt>
                <c:pt idx="180">
                  <c:v>10</c:v>
                </c:pt>
                <c:pt idx="181">
                  <c:v>66</c:v>
                </c:pt>
                <c:pt idx="182">
                  <c:v>43</c:v>
                </c:pt>
                <c:pt idx="183">
                  <c:v>57</c:v>
                </c:pt>
                <c:pt idx="184">
                  <c:v>48</c:v>
                </c:pt>
                <c:pt idx="185">
                  <c:v>36</c:v>
                </c:pt>
                <c:pt idx="186">
                  <c:v>15</c:v>
                </c:pt>
                <c:pt idx="187">
                  <c:v>14</c:v>
                </c:pt>
                <c:pt idx="188">
                  <c:v>65</c:v>
                </c:pt>
                <c:pt idx="189">
                  <c:v>38</c:v>
                </c:pt>
                <c:pt idx="190">
                  <c:v>30</c:v>
                </c:pt>
                <c:pt idx="191">
                  <c:v>30</c:v>
                </c:pt>
                <c:pt idx="192">
                  <c:v>20</c:v>
                </c:pt>
                <c:pt idx="193">
                  <c:v>12</c:v>
                </c:pt>
                <c:pt idx="194">
                  <c:v>7</c:v>
                </c:pt>
                <c:pt idx="195">
                  <c:v>41</c:v>
                </c:pt>
                <c:pt idx="196">
                  <c:v>26</c:v>
                </c:pt>
                <c:pt idx="197">
                  <c:v>27</c:v>
                </c:pt>
                <c:pt idx="198">
                  <c:v>16</c:v>
                </c:pt>
                <c:pt idx="199">
                  <c:v>23</c:v>
                </c:pt>
                <c:pt idx="200">
                  <c:v>2</c:v>
                </c:pt>
                <c:pt idx="201">
                  <c:v>5</c:v>
                </c:pt>
                <c:pt idx="202">
                  <c:v>37</c:v>
                </c:pt>
                <c:pt idx="203">
                  <c:v>19</c:v>
                </c:pt>
                <c:pt idx="204">
                  <c:v>11</c:v>
                </c:pt>
                <c:pt idx="205">
                  <c:v>10</c:v>
                </c:pt>
                <c:pt idx="206">
                  <c:v>18</c:v>
                </c:pt>
                <c:pt idx="207">
                  <c:v>3</c:v>
                </c:pt>
                <c:pt idx="208">
                  <c:v>1</c:v>
                </c:pt>
                <c:pt idx="209">
                  <c:v>24</c:v>
                </c:pt>
                <c:pt idx="210">
                  <c:v>20</c:v>
                </c:pt>
                <c:pt idx="211">
                  <c:v>14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8</c:v>
                </c:pt>
                <c:pt idx="219">
                  <c:v>17</c:v>
                </c:pt>
                <c:pt idx="220">
                  <c:v>8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6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6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4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1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3</c:v>
                </c:pt>
                <c:pt idx="434">
                  <c:v>28</c:v>
                </c:pt>
                <c:pt idx="435">
                  <c:v>31</c:v>
                </c:pt>
                <c:pt idx="436">
                  <c:v>38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8</c:v>
                </c:pt>
                <c:pt idx="441">
                  <c:v>35</c:v>
                </c:pt>
                <c:pt idx="442">
                  <c:v>14</c:v>
                </c:pt>
                <c:pt idx="443">
                  <c:v>42</c:v>
                </c:pt>
                <c:pt idx="444">
                  <c:v>52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5</c:v>
                </c:pt>
                <c:pt idx="455">
                  <c:v>48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1</c:v>
                </c:pt>
                <c:pt idx="462">
                  <c:v>36</c:v>
                </c:pt>
                <c:pt idx="463">
                  <c:v>35</c:v>
                </c:pt>
                <c:pt idx="464">
                  <c:v>26</c:v>
                </c:pt>
                <c:pt idx="465">
                  <c:v>19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6</c:v>
                </c:pt>
                <c:pt idx="470">
                  <c:v>28</c:v>
                </c:pt>
                <c:pt idx="471">
                  <c:v>18</c:v>
                </c:pt>
                <c:pt idx="472">
                  <c:v>15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9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9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0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9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3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5</c:v>
                </c:pt>
                <c:pt idx="505">
                  <c:v>41</c:v>
                </c:pt>
                <c:pt idx="506">
                  <c:v>48</c:v>
                </c:pt>
                <c:pt idx="507">
                  <c:v>68</c:v>
                </c:pt>
                <c:pt idx="508">
                  <c:v>20</c:v>
                </c:pt>
                <c:pt idx="509">
                  <c:v>16</c:v>
                </c:pt>
                <c:pt idx="510">
                  <c:v>95</c:v>
                </c:pt>
                <c:pt idx="511">
                  <c:v>103</c:v>
                </c:pt>
                <c:pt idx="512">
                  <c:v>97</c:v>
                </c:pt>
                <c:pt idx="513">
                  <c:v>59</c:v>
                </c:pt>
                <c:pt idx="514">
                  <c:v>74</c:v>
                </c:pt>
                <c:pt idx="515">
                  <c:v>30</c:v>
                </c:pt>
                <c:pt idx="516">
                  <c:v>31</c:v>
                </c:pt>
                <c:pt idx="517">
                  <c:v>116</c:v>
                </c:pt>
                <c:pt idx="518">
                  <c:v>116</c:v>
                </c:pt>
                <c:pt idx="519">
                  <c:v>81</c:v>
                </c:pt>
                <c:pt idx="520">
                  <c:v>70</c:v>
                </c:pt>
                <c:pt idx="521">
                  <c:v>83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1</c:v>
                </c:pt>
                <c:pt idx="526">
                  <c:v>64</c:v>
                </c:pt>
                <c:pt idx="527">
                  <c:v>69</c:v>
                </c:pt>
                <c:pt idx="528">
                  <c:v>52</c:v>
                </c:pt>
                <c:pt idx="529">
                  <c:v>23</c:v>
                </c:pt>
                <c:pt idx="530">
                  <c:v>26</c:v>
                </c:pt>
                <c:pt idx="531">
                  <c:v>89</c:v>
                </c:pt>
                <c:pt idx="532">
                  <c:v>75</c:v>
                </c:pt>
                <c:pt idx="533">
                  <c:v>63</c:v>
                </c:pt>
                <c:pt idx="534">
                  <c:v>52</c:v>
                </c:pt>
                <c:pt idx="535">
                  <c:v>37</c:v>
                </c:pt>
                <c:pt idx="536">
                  <c:v>27</c:v>
                </c:pt>
                <c:pt idx="537">
                  <c:v>15</c:v>
                </c:pt>
                <c:pt idx="538">
                  <c:v>62</c:v>
                </c:pt>
                <c:pt idx="539">
                  <c:v>57</c:v>
                </c:pt>
                <c:pt idx="540">
                  <c:v>51</c:v>
                </c:pt>
                <c:pt idx="541">
                  <c:v>35</c:v>
                </c:pt>
                <c:pt idx="54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  <c:max val="44620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W$1</c:f>
              <c:strCache>
                <c:ptCount val="22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</c:strCache>
            </c:strRef>
          </c:cat>
          <c:val>
            <c:numRef>
              <c:f>List1!$B$2:$W$2</c:f>
              <c:numCache>
                <c:formatCode>General</c:formatCode>
                <c:ptCount val="22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01</c:v>
                </c:pt>
                <c:pt idx="21">
                  <c:v>1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Sheet1!$B$2:$B$544</c:f>
              <c:numCache>
                <c:formatCode>#\ ##0_ ;\-#\ ##0\ </c:formatCode>
                <c:ptCount val="543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5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7</c:v>
                </c:pt>
                <c:pt idx="20">
                  <c:v>6</c:v>
                </c:pt>
                <c:pt idx="21">
                  <c:v>7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9</c:v>
                </c:pt>
                <c:pt idx="28">
                  <c:v>31</c:v>
                </c:pt>
                <c:pt idx="29">
                  <c:v>38</c:v>
                </c:pt>
                <c:pt idx="30">
                  <c:v>61</c:v>
                </c:pt>
                <c:pt idx="31">
                  <c:v>159</c:v>
                </c:pt>
                <c:pt idx="32">
                  <c:v>67</c:v>
                </c:pt>
                <c:pt idx="33">
                  <c:v>85</c:v>
                </c:pt>
                <c:pt idx="34">
                  <c:v>266</c:v>
                </c:pt>
                <c:pt idx="35">
                  <c:v>133</c:v>
                </c:pt>
                <c:pt idx="36">
                  <c:v>88</c:v>
                </c:pt>
                <c:pt idx="37">
                  <c:v>165</c:v>
                </c:pt>
                <c:pt idx="38">
                  <c:v>232</c:v>
                </c:pt>
                <c:pt idx="39">
                  <c:v>81</c:v>
                </c:pt>
                <c:pt idx="40">
                  <c:v>39</c:v>
                </c:pt>
                <c:pt idx="41">
                  <c:v>315</c:v>
                </c:pt>
                <c:pt idx="42">
                  <c:v>388</c:v>
                </c:pt>
                <c:pt idx="43">
                  <c:v>380</c:v>
                </c:pt>
                <c:pt idx="44">
                  <c:v>413</c:v>
                </c:pt>
                <c:pt idx="45">
                  <c:v>422</c:v>
                </c:pt>
                <c:pt idx="46">
                  <c:v>264</c:v>
                </c:pt>
                <c:pt idx="47">
                  <c:v>91</c:v>
                </c:pt>
                <c:pt idx="48">
                  <c:v>447</c:v>
                </c:pt>
                <c:pt idx="49">
                  <c:v>404</c:v>
                </c:pt>
                <c:pt idx="50">
                  <c:v>599</c:v>
                </c:pt>
                <c:pt idx="51">
                  <c:v>478</c:v>
                </c:pt>
                <c:pt idx="52">
                  <c:v>766</c:v>
                </c:pt>
                <c:pt idx="53">
                  <c:v>418</c:v>
                </c:pt>
                <c:pt idx="54">
                  <c:v>288</c:v>
                </c:pt>
                <c:pt idx="55">
                  <c:v>775</c:v>
                </c:pt>
                <c:pt idx="56">
                  <c:v>956</c:v>
                </c:pt>
                <c:pt idx="57">
                  <c:v>400</c:v>
                </c:pt>
                <c:pt idx="58">
                  <c:v>1030</c:v>
                </c:pt>
                <c:pt idx="59">
                  <c:v>934</c:v>
                </c:pt>
                <c:pt idx="60">
                  <c:v>526</c:v>
                </c:pt>
                <c:pt idx="61">
                  <c:v>334</c:v>
                </c:pt>
                <c:pt idx="62">
                  <c:v>653</c:v>
                </c:pt>
                <c:pt idx="63">
                  <c:v>592</c:v>
                </c:pt>
                <c:pt idx="64">
                  <c:v>772</c:v>
                </c:pt>
                <c:pt idx="65">
                  <c:v>835</c:v>
                </c:pt>
                <c:pt idx="66">
                  <c:v>740</c:v>
                </c:pt>
                <c:pt idx="67">
                  <c:v>336</c:v>
                </c:pt>
                <c:pt idx="68">
                  <c:v>131</c:v>
                </c:pt>
                <c:pt idx="69">
                  <c:v>415</c:v>
                </c:pt>
                <c:pt idx="70">
                  <c:v>598</c:v>
                </c:pt>
                <c:pt idx="71">
                  <c:v>954</c:v>
                </c:pt>
                <c:pt idx="72">
                  <c:v>750</c:v>
                </c:pt>
                <c:pt idx="73">
                  <c:v>696</c:v>
                </c:pt>
                <c:pt idx="74">
                  <c:v>259</c:v>
                </c:pt>
                <c:pt idx="75">
                  <c:v>202</c:v>
                </c:pt>
                <c:pt idx="76">
                  <c:v>589</c:v>
                </c:pt>
                <c:pt idx="77">
                  <c:v>191</c:v>
                </c:pt>
                <c:pt idx="78">
                  <c:v>438</c:v>
                </c:pt>
                <c:pt idx="79">
                  <c:v>410</c:v>
                </c:pt>
                <c:pt idx="80">
                  <c:v>371</c:v>
                </c:pt>
                <c:pt idx="81">
                  <c:v>136</c:v>
                </c:pt>
                <c:pt idx="82">
                  <c:v>111</c:v>
                </c:pt>
                <c:pt idx="83">
                  <c:v>535</c:v>
                </c:pt>
                <c:pt idx="84">
                  <c:v>312</c:v>
                </c:pt>
                <c:pt idx="85">
                  <c:v>227</c:v>
                </c:pt>
                <c:pt idx="86">
                  <c:v>257</c:v>
                </c:pt>
                <c:pt idx="87">
                  <c:v>224</c:v>
                </c:pt>
                <c:pt idx="88">
                  <c:v>101</c:v>
                </c:pt>
                <c:pt idx="89">
                  <c:v>46</c:v>
                </c:pt>
                <c:pt idx="90">
                  <c:v>326</c:v>
                </c:pt>
                <c:pt idx="91">
                  <c:v>216</c:v>
                </c:pt>
                <c:pt idx="92">
                  <c:v>208</c:v>
                </c:pt>
                <c:pt idx="93">
                  <c:v>194</c:v>
                </c:pt>
                <c:pt idx="94">
                  <c:v>241</c:v>
                </c:pt>
                <c:pt idx="95">
                  <c:v>132</c:v>
                </c:pt>
                <c:pt idx="96">
                  <c:v>49</c:v>
                </c:pt>
                <c:pt idx="97">
                  <c:v>264</c:v>
                </c:pt>
                <c:pt idx="98">
                  <c:v>170</c:v>
                </c:pt>
                <c:pt idx="99">
                  <c:v>207</c:v>
                </c:pt>
                <c:pt idx="100">
                  <c:v>147</c:v>
                </c:pt>
                <c:pt idx="101">
                  <c:v>314</c:v>
                </c:pt>
                <c:pt idx="102">
                  <c:v>88</c:v>
                </c:pt>
                <c:pt idx="103">
                  <c:v>68</c:v>
                </c:pt>
                <c:pt idx="104">
                  <c:v>291</c:v>
                </c:pt>
                <c:pt idx="105">
                  <c:v>207</c:v>
                </c:pt>
                <c:pt idx="106">
                  <c:v>198</c:v>
                </c:pt>
                <c:pt idx="107">
                  <c:v>123</c:v>
                </c:pt>
                <c:pt idx="108">
                  <c:v>312</c:v>
                </c:pt>
                <c:pt idx="109">
                  <c:v>93</c:v>
                </c:pt>
                <c:pt idx="110">
                  <c:v>51</c:v>
                </c:pt>
                <c:pt idx="111">
                  <c:v>347</c:v>
                </c:pt>
                <c:pt idx="112">
                  <c:v>295</c:v>
                </c:pt>
                <c:pt idx="113">
                  <c:v>250</c:v>
                </c:pt>
                <c:pt idx="114">
                  <c:v>50</c:v>
                </c:pt>
                <c:pt idx="115">
                  <c:v>123</c:v>
                </c:pt>
                <c:pt idx="116">
                  <c:v>132</c:v>
                </c:pt>
                <c:pt idx="117">
                  <c:v>147</c:v>
                </c:pt>
                <c:pt idx="118">
                  <c:v>363</c:v>
                </c:pt>
                <c:pt idx="119">
                  <c:v>334</c:v>
                </c:pt>
                <c:pt idx="120">
                  <c:v>263</c:v>
                </c:pt>
                <c:pt idx="121">
                  <c:v>229</c:v>
                </c:pt>
                <c:pt idx="122">
                  <c:v>101</c:v>
                </c:pt>
                <c:pt idx="123">
                  <c:v>127</c:v>
                </c:pt>
                <c:pt idx="124">
                  <c:v>83</c:v>
                </c:pt>
                <c:pt idx="125">
                  <c:v>568</c:v>
                </c:pt>
                <c:pt idx="126">
                  <c:v>307</c:v>
                </c:pt>
                <c:pt idx="127">
                  <c:v>284</c:v>
                </c:pt>
                <c:pt idx="128">
                  <c:v>343</c:v>
                </c:pt>
                <c:pt idx="129">
                  <c:v>323</c:v>
                </c:pt>
                <c:pt idx="130">
                  <c:v>123</c:v>
                </c:pt>
                <c:pt idx="131">
                  <c:v>63</c:v>
                </c:pt>
                <c:pt idx="132">
                  <c:v>491</c:v>
                </c:pt>
                <c:pt idx="133">
                  <c:v>228</c:v>
                </c:pt>
                <c:pt idx="134">
                  <c:v>287</c:v>
                </c:pt>
                <c:pt idx="135">
                  <c:v>156</c:v>
                </c:pt>
                <c:pt idx="136">
                  <c:v>160</c:v>
                </c:pt>
                <c:pt idx="137">
                  <c:v>71</c:v>
                </c:pt>
                <c:pt idx="138">
                  <c:v>76</c:v>
                </c:pt>
                <c:pt idx="139">
                  <c:v>298</c:v>
                </c:pt>
                <c:pt idx="140">
                  <c:v>161</c:v>
                </c:pt>
                <c:pt idx="141">
                  <c:v>220</c:v>
                </c:pt>
                <c:pt idx="142">
                  <c:v>177</c:v>
                </c:pt>
                <c:pt idx="143">
                  <c:v>202</c:v>
                </c:pt>
                <c:pt idx="144">
                  <c:v>81</c:v>
                </c:pt>
                <c:pt idx="145">
                  <c:v>40</c:v>
                </c:pt>
                <c:pt idx="146">
                  <c:v>179</c:v>
                </c:pt>
                <c:pt idx="147">
                  <c:v>122</c:v>
                </c:pt>
                <c:pt idx="148">
                  <c:v>156</c:v>
                </c:pt>
                <c:pt idx="149">
                  <c:v>103</c:v>
                </c:pt>
                <c:pt idx="150">
                  <c:v>86</c:v>
                </c:pt>
                <c:pt idx="151">
                  <c:v>80</c:v>
                </c:pt>
                <c:pt idx="152">
                  <c:v>24</c:v>
                </c:pt>
                <c:pt idx="153">
                  <c:v>191</c:v>
                </c:pt>
                <c:pt idx="154">
                  <c:v>173</c:v>
                </c:pt>
                <c:pt idx="155">
                  <c:v>163</c:v>
                </c:pt>
                <c:pt idx="156">
                  <c:v>132</c:v>
                </c:pt>
                <c:pt idx="157">
                  <c:v>139</c:v>
                </c:pt>
                <c:pt idx="158">
                  <c:v>57</c:v>
                </c:pt>
                <c:pt idx="159">
                  <c:v>34</c:v>
                </c:pt>
                <c:pt idx="160">
                  <c:v>142</c:v>
                </c:pt>
                <c:pt idx="161">
                  <c:v>88</c:v>
                </c:pt>
                <c:pt idx="162">
                  <c:v>102</c:v>
                </c:pt>
                <c:pt idx="163">
                  <c:v>111</c:v>
                </c:pt>
                <c:pt idx="164">
                  <c:v>92</c:v>
                </c:pt>
                <c:pt idx="165">
                  <c:v>23</c:v>
                </c:pt>
                <c:pt idx="166">
                  <c:v>30</c:v>
                </c:pt>
                <c:pt idx="167">
                  <c:v>102</c:v>
                </c:pt>
                <c:pt idx="168">
                  <c:v>53</c:v>
                </c:pt>
                <c:pt idx="169">
                  <c:v>66</c:v>
                </c:pt>
                <c:pt idx="170">
                  <c:v>65</c:v>
                </c:pt>
                <c:pt idx="171">
                  <c:v>68</c:v>
                </c:pt>
                <c:pt idx="172">
                  <c:v>27</c:v>
                </c:pt>
                <c:pt idx="173">
                  <c:v>31</c:v>
                </c:pt>
                <c:pt idx="174">
                  <c:v>172</c:v>
                </c:pt>
                <c:pt idx="175">
                  <c:v>84</c:v>
                </c:pt>
                <c:pt idx="176">
                  <c:v>71</c:v>
                </c:pt>
                <c:pt idx="177">
                  <c:v>81</c:v>
                </c:pt>
                <c:pt idx="178">
                  <c:v>94</c:v>
                </c:pt>
                <c:pt idx="179">
                  <c:v>23</c:v>
                </c:pt>
                <c:pt idx="180">
                  <c:v>13</c:v>
                </c:pt>
                <c:pt idx="181">
                  <c:v>145</c:v>
                </c:pt>
                <c:pt idx="182">
                  <c:v>71</c:v>
                </c:pt>
                <c:pt idx="183">
                  <c:v>104</c:v>
                </c:pt>
                <c:pt idx="184">
                  <c:v>59</c:v>
                </c:pt>
                <c:pt idx="185">
                  <c:v>60</c:v>
                </c:pt>
                <c:pt idx="186">
                  <c:v>20</c:v>
                </c:pt>
                <c:pt idx="187">
                  <c:v>20</c:v>
                </c:pt>
                <c:pt idx="188">
                  <c:v>92</c:v>
                </c:pt>
                <c:pt idx="189">
                  <c:v>144</c:v>
                </c:pt>
                <c:pt idx="190">
                  <c:v>90</c:v>
                </c:pt>
                <c:pt idx="191">
                  <c:v>43</c:v>
                </c:pt>
                <c:pt idx="192">
                  <c:v>54</c:v>
                </c:pt>
                <c:pt idx="193">
                  <c:v>21</c:v>
                </c:pt>
                <c:pt idx="194">
                  <c:v>14</c:v>
                </c:pt>
                <c:pt idx="195">
                  <c:v>72</c:v>
                </c:pt>
                <c:pt idx="196">
                  <c:v>47</c:v>
                </c:pt>
                <c:pt idx="197">
                  <c:v>39</c:v>
                </c:pt>
                <c:pt idx="198">
                  <c:v>53</c:v>
                </c:pt>
                <c:pt idx="199">
                  <c:v>41</c:v>
                </c:pt>
                <c:pt idx="200">
                  <c:v>12</c:v>
                </c:pt>
                <c:pt idx="201">
                  <c:v>9</c:v>
                </c:pt>
                <c:pt idx="202">
                  <c:v>50</c:v>
                </c:pt>
                <c:pt idx="203">
                  <c:v>49</c:v>
                </c:pt>
                <c:pt idx="204">
                  <c:v>32</c:v>
                </c:pt>
                <c:pt idx="205">
                  <c:v>42</c:v>
                </c:pt>
                <c:pt idx="206">
                  <c:v>24</c:v>
                </c:pt>
                <c:pt idx="207">
                  <c:v>6</c:v>
                </c:pt>
                <c:pt idx="208">
                  <c:v>5</c:v>
                </c:pt>
                <c:pt idx="209">
                  <c:v>47</c:v>
                </c:pt>
                <c:pt idx="210">
                  <c:v>33</c:v>
                </c:pt>
                <c:pt idx="211">
                  <c:v>25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7</c:v>
                </c:pt>
                <c:pt idx="218">
                  <c:v>37</c:v>
                </c:pt>
                <c:pt idx="219">
                  <c:v>19</c:v>
                </c:pt>
                <c:pt idx="220">
                  <c:v>11</c:v>
                </c:pt>
                <c:pt idx="221">
                  <c:v>7</c:v>
                </c:pt>
                <c:pt idx="222">
                  <c:v>1</c:v>
                </c:pt>
                <c:pt idx="223">
                  <c:v>10</c:v>
                </c:pt>
                <c:pt idx="224">
                  <c:v>11</c:v>
                </c:pt>
                <c:pt idx="225">
                  <c:v>8</c:v>
                </c:pt>
                <c:pt idx="226">
                  <c:v>10</c:v>
                </c:pt>
                <c:pt idx="227">
                  <c:v>8</c:v>
                </c:pt>
                <c:pt idx="228">
                  <c:v>2</c:v>
                </c:pt>
                <c:pt idx="229">
                  <c:v>3</c:v>
                </c:pt>
                <c:pt idx="230">
                  <c:v>18</c:v>
                </c:pt>
                <c:pt idx="231">
                  <c:v>12</c:v>
                </c:pt>
                <c:pt idx="232">
                  <c:v>9</c:v>
                </c:pt>
                <c:pt idx="233">
                  <c:v>17</c:v>
                </c:pt>
                <c:pt idx="234">
                  <c:v>10</c:v>
                </c:pt>
                <c:pt idx="235">
                  <c:v>2</c:v>
                </c:pt>
                <c:pt idx="236">
                  <c:v>0</c:v>
                </c:pt>
                <c:pt idx="237">
                  <c:v>10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0</c:v>
                </c:pt>
                <c:pt idx="243">
                  <c:v>1</c:v>
                </c:pt>
                <c:pt idx="244">
                  <c:v>6</c:v>
                </c:pt>
                <c:pt idx="245">
                  <c:v>2</c:v>
                </c:pt>
                <c:pt idx="246">
                  <c:v>4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6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3</c:v>
                </c:pt>
                <c:pt idx="434">
                  <c:v>58</c:v>
                </c:pt>
                <c:pt idx="435">
                  <c:v>47</c:v>
                </c:pt>
                <c:pt idx="436">
                  <c:v>57</c:v>
                </c:pt>
                <c:pt idx="437">
                  <c:v>51</c:v>
                </c:pt>
                <c:pt idx="438">
                  <c:v>33</c:v>
                </c:pt>
                <c:pt idx="439">
                  <c:v>29</c:v>
                </c:pt>
                <c:pt idx="440">
                  <c:v>101</c:v>
                </c:pt>
                <c:pt idx="441">
                  <c:v>67</c:v>
                </c:pt>
                <c:pt idx="442">
                  <c:v>39</c:v>
                </c:pt>
                <c:pt idx="443">
                  <c:v>98</c:v>
                </c:pt>
                <c:pt idx="444">
                  <c:v>137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7</c:v>
                </c:pt>
                <c:pt idx="449">
                  <c:v>91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89</c:v>
                </c:pt>
                <c:pt idx="455">
                  <c:v>62</c:v>
                </c:pt>
                <c:pt idx="456">
                  <c:v>73</c:v>
                </c:pt>
                <c:pt idx="457">
                  <c:v>64</c:v>
                </c:pt>
                <c:pt idx="458">
                  <c:v>43</c:v>
                </c:pt>
                <c:pt idx="459">
                  <c:v>60</c:v>
                </c:pt>
                <c:pt idx="460">
                  <c:v>17</c:v>
                </c:pt>
                <c:pt idx="461">
                  <c:v>82</c:v>
                </c:pt>
                <c:pt idx="462">
                  <c:v>58</c:v>
                </c:pt>
                <c:pt idx="463">
                  <c:v>53</c:v>
                </c:pt>
                <c:pt idx="464">
                  <c:v>57</c:v>
                </c:pt>
                <c:pt idx="465">
                  <c:v>49</c:v>
                </c:pt>
                <c:pt idx="466">
                  <c:v>19</c:v>
                </c:pt>
                <c:pt idx="467">
                  <c:v>9</c:v>
                </c:pt>
                <c:pt idx="468">
                  <c:v>51</c:v>
                </c:pt>
                <c:pt idx="469">
                  <c:v>63</c:v>
                </c:pt>
                <c:pt idx="470">
                  <c:v>44</c:v>
                </c:pt>
                <c:pt idx="471">
                  <c:v>25</c:v>
                </c:pt>
                <c:pt idx="472">
                  <c:v>27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2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4</c:v>
                </c:pt>
                <c:pt idx="484">
                  <c:v>15</c:v>
                </c:pt>
                <c:pt idx="485">
                  <c:v>12</c:v>
                </c:pt>
                <c:pt idx="486">
                  <c:v>16</c:v>
                </c:pt>
                <c:pt idx="487">
                  <c:v>3</c:v>
                </c:pt>
                <c:pt idx="488">
                  <c:v>4</c:v>
                </c:pt>
                <c:pt idx="489">
                  <c:v>24</c:v>
                </c:pt>
                <c:pt idx="490">
                  <c:v>19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20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1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7</c:v>
                </c:pt>
                <c:pt idx="505">
                  <c:v>52</c:v>
                </c:pt>
                <c:pt idx="506">
                  <c:v>69</c:v>
                </c:pt>
                <c:pt idx="507">
                  <c:v>83</c:v>
                </c:pt>
                <c:pt idx="508">
                  <c:v>52</c:v>
                </c:pt>
                <c:pt idx="509">
                  <c:v>22</c:v>
                </c:pt>
                <c:pt idx="510">
                  <c:v>139</c:v>
                </c:pt>
                <c:pt idx="511">
                  <c:v>144</c:v>
                </c:pt>
                <c:pt idx="512">
                  <c:v>136</c:v>
                </c:pt>
                <c:pt idx="513">
                  <c:v>84</c:v>
                </c:pt>
                <c:pt idx="514">
                  <c:v>122</c:v>
                </c:pt>
                <c:pt idx="515">
                  <c:v>34</c:v>
                </c:pt>
                <c:pt idx="516">
                  <c:v>37</c:v>
                </c:pt>
                <c:pt idx="517">
                  <c:v>158</c:v>
                </c:pt>
                <c:pt idx="518">
                  <c:v>168</c:v>
                </c:pt>
                <c:pt idx="519">
                  <c:v>114</c:v>
                </c:pt>
                <c:pt idx="520">
                  <c:v>91</c:v>
                </c:pt>
                <c:pt idx="521">
                  <c:v>140</c:v>
                </c:pt>
                <c:pt idx="522">
                  <c:v>52</c:v>
                </c:pt>
                <c:pt idx="523">
                  <c:v>39</c:v>
                </c:pt>
                <c:pt idx="524">
                  <c:v>221</c:v>
                </c:pt>
                <c:pt idx="525">
                  <c:v>141</c:v>
                </c:pt>
                <c:pt idx="526">
                  <c:v>93</c:v>
                </c:pt>
                <c:pt idx="527">
                  <c:v>109</c:v>
                </c:pt>
                <c:pt idx="528">
                  <c:v>117</c:v>
                </c:pt>
                <c:pt idx="529">
                  <c:v>43</c:v>
                </c:pt>
                <c:pt idx="530">
                  <c:v>42</c:v>
                </c:pt>
                <c:pt idx="531">
                  <c:v>148</c:v>
                </c:pt>
                <c:pt idx="532">
                  <c:v>126</c:v>
                </c:pt>
                <c:pt idx="533">
                  <c:v>113</c:v>
                </c:pt>
                <c:pt idx="534">
                  <c:v>134</c:v>
                </c:pt>
                <c:pt idx="535">
                  <c:v>69</c:v>
                </c:pt>
                <c:pt idx="536" formatCode="General">
                  <c:v>37</c:v>
                </c:pt>
                <c:pt idx="537" formatCode="General">
                  <c:v>24</c:v>
                </c:pt>
                <c:pt idx="538" formatCode="General">
                  <c:v>98</c:v>
                </c:pt>
                <c:pt idx="539" formatCode="General">
                  <c:v>108</c:v>
                </c:pt>
                <c:pt idx="540" formatCode="General">
                  <c:v>98</c:v>
                </c:pt>
                <c:pt idx="541" formatCode="General">
                  <c:v>77</c:v>
                </c:pt>
                <c:pt idx="542" formatCode="General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44</c:f>
              <c:numCache>
                <c:formatCode>m/d/yyyy</c:formatCode>
                <c:ptCount val="543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</c:numCache>
            </c:numRef>
          </c:cat>
          <c:val>
            <c:numRef>
              <c:f>Sheet1!$B$2:$B$544</c:f>
              <c:numCache>
                <c:formatCode>#\ ##0_ ;\-#\ ##0\ </c:formatCode>
                <c:ptCount val="5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6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8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6</c:v>
                </c:pt>
                <c:pt idx="80">
                  <c:v>35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19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4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20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2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4</c:v>
                </c:pt>
                <c:pt idx="539">
                  <c:v>1</c:v>
                </c:pt>
                <c:pt idx="540">
                  <c:v>2</c:v>
                </c:pt>
                <c:pt idx="541">
                  <c:v>3</c:v>
                </c:pt>
                <c:pt idx="54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  <c:max val="44620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7</c:f>
              <c:numCache>
                <c:formatCode>m/d/yyyy</c:formatCode>
                <c:ptCount val="456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7</c:v>
                </c:pt>
                <c:pt idx="260">
                  <c:v>44349</c:v>
                </c:pt>
                <c:pt idx="261">
                  <c:v>44350</c:v>
                </c:pt>
                <c:pt idx="262">
                  <c:v>44354</c:v>
                </c:pt>
                <c:pt idx="263">
                  <c:v>44358</c:v>
                </c:pt>
                <c:pt idx="264">
                  <c:v>44364</c:v>
                </c:pt>
                <c:pt idx="265">
                  <c:v>44370</c:v>
                </c:pt>
                <c:pt idx="266">
                  <c:v>44371</c:v>
                </c:pt>
                <c:pt idx="267">
                  <c:v>44377</c:v>
                </c:pt>
                <c:pt idx="268">
                  <c:v>44378</c:v>
                </c:pt>
                <c:pt idx="269">
                  <c:v>44381</c:v>
                </c:pt>
                <c:pt idx="270">
                  <c:v>44384</c:v>
                </c:pt>
                <c:pt idx="271">
                  <c:v>44385</c:v>
                </c:pt>
                <c:pt idx="272">
                  <c:v>44388</c:v>
                </c:pt>
                <c:pt idx="273">
                  <c:v>44398</c:v>
                </c:pt>
                <c:pt idx="274">
                  <c:v>44401</c:v>
                </c:pt>
                <c:pt idx="275">
                  <c:v>44404</c:v>
                </c:pt>
                <c:pt idx="276">
                  <c:v>44405</c:v>
                </c:pt>
                <c:pt idx="277">
                  <c:v>44407</c:v>
                </c:pt>
                <c:pt idx="278">
                  <c:v>44416</c:v>
                </c:pt>
                <c:pt idx="279">
                  <c:v>44419</c:v>
                </c:pt>
                <c:pt idx="280">
                  <c:v>44424</c:v>
                </c:pt>
                <c:pt idx="281">
                  <c:v>44425</c:v>
                </c:pt>
                <c:pt idx="282">
                  <c:v>44427</c:v>
                </c:pt>
                <c:pt idx="283">
                  <c:v>44431</c:v>
                </c:pt>
                <c:pt idx="284">
                  <c:v>44434</c:v>
                </c:pt>
                <c:pt idx="285">
                  <c:v>44435</c:v>
                </c:pt>
                <c:pt idx="286">
                  <c:v>44436</c:v>
                </c:pt>
                <c:pt idx="287">
                  <c:v>44440</c:v>
                </c:pt>
                <c:pt idx="288">
                  <c:v>44441</c:v>
                </c:pt>
                <c:pt idx="289">
                  <c:v>44442</c:v>
                </c:pt>
                <c:pt idx="290">
                  <c:v>44443</c:v>
                </c:pt>
                <c:pt idx="291">
                  <c:v>44445</c:v>
                </c:pt>
                <c:pt idx="292">
                  <c:v>44446</c:v>
                </c:pt>
                <c:pt idx="293">
                  <c:v>44447</c:v>
                </c:pt>
                <c:pt idx="294">
                  <c:v>44448</c:v>
                </c:pt>
                <c:pt idx="295">
                  <c:v>44449</c:v>
                </c:pt>
                <c:pt idx="296">
                  <c:v>44451</c:v>
                </c:pt>
                <c:pt idx="297">
                  <c:v>44452</c:v>
                </c:pt>
                <c:pt idx="298">
                  <c:v>44453</c:v>
                </c:pt>
                <c:pt idx="299">
                  <c:v>44457</c:v>
                </c:pt>
                <c:pt idx="300">
                  <c:v>44459</c:v>
                </c:pt>
                <c:pt idx="301">
                  <c:v>44460</c:v>
                </c:pt>
                <c:pt idx="302">
                  <c:v>44461</c:v>
                </c:pt>
                <c:pt idx="303">
                  <c:v>44464</c:v>
                </c:pt>
                <c:pt idx="304">
                  <c:v>44465</c:v>
                </c:pt>
                <c:pt idx="305">
                  <c:v>44466</c:v>
                </c:pt>
                <c:pt idx="306">
                  <c:v>44467</c:v>
                </c:pt>
                <c:pt idx="307">
                  <c:v>44468</c:v>
                </c:pt>
                <c:pt idx="308">
                  <c:v>44469</c:v>
                </c:pt>
                <c:pt idx="309">
                  <c:v>44470</c:v>
                </c:pt>
                <c:pt idx="310">
                  <c:v>44471</c:v>
                </c:pt>
                <c:pt idx="311">
                  <c:v>44472</c:v>
                </c:pt>
                <c:pt idx="312">
                  <c:v>44473</c:v>
                </c:pt>
                <c:pt idx="313">
                  <c:v>44474</c:v>
                </c:pt>
                <c:pt idx="314">
                  <c:v>44475</c:v>
                </c:pt>
                <c:pt idx="315">
                  <c:v>44476</c:v>
                </c:pt>
                <c:pt idx="316">
                  <c:v>44477</c:v>
                </c:pt>
                <c:pt idx="317">
                  <c:v>44478</c:v>
                </c:pt>
                <c:pt idx="318">
                  <c:v>44480</c:v>
                </c:pt>
                <c:pt idx="319">
                  <c:v>44481</c:v>
                </c:pt>
                <c:pt idx="320">
                  <c:v>44482</c:v>
                </c:pt>
                <c:pt idx="321">
                  <c:v>44483</c:v>
                </c:pt>
                <c:pt idx="322">
                  <c:v>44484</c:v>
                </c:pt>
                <c:pt idx="323">
                  <c:v>44485</c:v>
                </c:pt>
                <c:pt idx="324">
                  <c:v>44486</c:v>
                </c:pt>
                <c:pt idx="325">
                  <c:v>44487</c:v>
                </c:pt>
                <c:pt idx="326">
                  <c:v>44488</c:v>
                </c:pt>
                <c:pt idx="327">
                  <c:v>44489</c:v>
                </c:pt>
                <c:pt idx="328">
                  <c:v>44490</c:v>
                </c:pt>
                <c:pt idx="329">
                  <c:v>44491</c:v>
                </c:pt>
                <c:pt idx="330">
                  <c:v>44492</c:v>
                </c:pt>
                <c:pt idx="331">
                  <c:v>44493</c:v>
                </c:pt>
                <c:pt idx="332">
                  <c:v>44494</c:v>
                </c:pt>
                <c:pt idx="333">
                  <c:v>44495</c:v>
                </c:pt>
                <c:pt idx="334">
                  <c:v>44496</c:v>
                </c:pt>
                <c:pt idx="335">
                  <c:v>44497</c:v>
                </c:pt>
                <c:pt idx="336">
                  <c:v>44498</c:v>
                </c:pt>
                <c:pt idx="337">
                  <c:v>44499</c:v>
                </c:pt>
                <c:pt idx="338">
                  <c:v>44500</c:v>
                </c:pt>
                <c:pt idx="339">
                  <c:v>44501</c:v>
                </c:pt>
                <c:pt idx="340">
                  <c:v>44502</c:v>
                </c:pt>
                <c:pt idx="341">
                  <c:v>44503</c:v>
                </c:pt>
                <c:pt idx="342">
                  <c:v>44504</c:v>
                </c:pt>
                <c:pt idx="343">
                  <c:v>44505</c:v>
                </c:pt>
                <c:pt idx="344">
                  <c:v>44506</c:v>
                </c:pt>
                <c:pt idx="345">
                  <c:v>44507</c:v>
                </c:pt>
                <c:pt idx="346">
                  <c:v>44508</c:v>
                </c:pt>
                <c:pt idx="347">
                  <c:v>44509</c:v>
                </c:pt>
                <c:pt idx="348">
                  <c:v>44510</c:v>
                </c:pt>
                <c:pt idx="349">
                  <c:v>44511</c:v>
                </c:pt>
                <c:pt idx="350">
                  <c:v>44512</c:v>
                </c:pt>
                <c:pt idx="351">
                  <c:v>44513</c:v>
                </c:pt>
                <c:pt idx="352">
                  <c:v>44514</c:v>
                </c:pt>
                <c:pt idx="353">
                  <c:v>44515</c:v>
                </c:pt>
                <c:pt idx="354">
                  <c:v>44516</c:v>
                </c:pt>
                <c:pt idx="355">
                  <c:v>44517</c:v>
                </c:pt>
                <c:pt idx="356">
                  <c:v>44518</c:v>
                </c:pt>
                <c:pt idx="357">
                  <c:v>44519</c:v>
                </c:pt>
                <c:pt idx="358">
                  <c:v>44520</c:v>
                </c:pt>
                <c:pt idx="359">
                  <c:v>44521</c:v>
                </c:pt>
                <c:pt idx="360">
                  <c:v>44522</c:v>
                </c:pt>
                <c:pt idx="361">
                  <c:v>44523</c:v>
                </c:pt>
                <c:pt idx="362">
                  <c:v>44524</c:v>
                </c:pt>
                <c:pt idx="363">
                  <c:v>44525</c:v>
                </c:pt>
                <c:pt idx="364">
                  <c:v>44526</c:v>
                </c:pt>
                <c:pt idx="365">
                  <c:v>44527</c:v>
                </c:pt>
                <c:pt idx="366">
                  <c:v>44528</c:v>
                </c:pt>
                <c:pt idx="367">
                  <c:v>44529</c:v>
                </c:pt>
                <c:pt idx="368">
                  <c:v>44530</c:v>
                </c:pt>
                <c:pt idx="369">
                  <c:v>44531</c:v>
                </c:pt>
                <c:pt idx="370">
                  <c:v>44532</c:v>
                </c:pt>
                <c:pt idx="371">
                  <c:v>44533</c:v>
                </c:pt>
                <c:pt idx="372">
                  <c:v>44534</c:v>
                </c:pt>
                <c:pt idx="373">
                  <c:v>44535</c:v>
                </c:pt>
                <c:pt idx="374">
                  <c:v>44536</c:v>
                </c:pt>
                <c:pt idx="375">
                  <c:v>44537</c:v>
                </c:pt>
                <c:pt idx="376">
                  <c:v>44538</c:v>
                </c:pt>
                <c:pt idx="377">
                  <c:v>44539</c:v>
                </c:pt>
                <c:pt idx="378">
                  <c:v>44540</c:v>
                </c:pt>
                <c:pt idx="379">
                  <c:v>44541</c:v>
                </c:pt>
                <c:pt idx="380">
                  <c:v>44542</c:v>
                </c:pt>
                <c:pt idx="381">
                  <c:v>44543</c:v>
                </c:pt>
                <c:pt idx="382">
                  <c:v>44544</c:v>
                </c:pt>
                <c:pt idx="383">
                  <c:v>44545</c:v>
                </c:pt>
                <c:pt idx="384">
                  <c:v>44546</c:v>
                </c:pt>
                <c:pt idx="385">
                  <c:v>44547</c:v>
                </c:pt>
                <c:pt idx="386">
                  <c:v>44548</c:v>
                </c:pt>
                <c:pt idx="387">
                  <c:v>44549</c:v>
                </c:pt>
                <c:pt idx="388">
                  <c:v>44550</c:v>
                </c:pt>
                <c:pt idx="389">
                  <c:v>44551</c:v>
                </c:pt>
                <c:pt idx="390">
                  <c:v>44552</c:v>
                </c:pt>
                <c:pt idx="391">
                  <c:v>44553</c:v>
                </c:pt>
                <c:pt idx="392">
                  <c:v>44554</c:v>
                </c:pt>
                <c:pt idx="393">
                  <c:v>44555</c:v>
                </c:pt>
                <c:pt idx="394">
                  <c:v>44556</c:v>
                </c:pt>
                <c:pt idx="395">
                  <c:v>44557</c:v>
                </c:pt>
                <c:pt idx="396">
                  <c:v>44558</c:v>
                </c:pt>
                <c:pt idx="397">
                  <c:v>44559</c:v>
                </c:pt>
                <c:pt idx="398">
                  <c:v>44560</c:v>
                </c:pt>
                <c:pt idx="399">
                  <c:v>44561</c:v>
                </c:pt>
                <c:pt idx="400">
                  <c:v>44562</c:v>
                </c:pt>
                <c:pt idx="401">
                  <c:v>44563</c:v>
                </c:pt>
                <c:pt idx="402">
                  <c:v>44564</c:v>
                </c:pt>
                <c:pt idx="403">
                  <c:v>44565</c:v>
                </c:pt>
                <c:pt idx="404">
                  <c:v>44566</c:v>
                </c:pt>
                <c:pt idx="405">
                  <c:v>44567</c:v>
                </c:pt>
                <c:pt idx="406">
                  <c:v>44568</c:v>
                </c:pt>
                <c:pt idx="407">
                  <c:v>44569</c:v>
                </c:pt>
                <c:pt idx="408">
                  <c:v>44570</c:v>
                </c:pt>
                <c:pt idx="409">
                  <c:v>44571</c:v>
                </c:pt>
                <c:pt idx="410">
                  <c:v>44572</c:v>
                </c:pt>
                <c:pt idx="411">
                  <c:v>44573</c:v>
                </c:pt>
                <c:pt idx="412">
                  <c:v>44574</c:v>
                </c:pt>
                <c:pt idx="413">
                  <c:v>44575</c:v>
                </c:pt>
                <c:pt idx="414">
                  <c:v>44576</c:v>
                </c:pt>
                <c:pt idx="415">
                  <c:v>44577</c:v>
                </c:pt>
                <c:pt idx="416">
                  <c:v>44578</c:v>
                </c:pt>
                <c:pt idx="417">
                  <c:v>44579</c:v>
                </c:pt>
                <c:pt idx="418">
                  <c:v>44580</c:v>
                </c:pt>
                <c:pt idx="419">
                  <c:v>44581</c:v>
                </c:pt>
                <c:pt idx="420">
                  <c:v>44582</c:v>
                </c:pt>
                <c:pt idx="421">
                  <c:v>44583</c:v>
                </c:pt>
                <c:pt idx="422">
                  <c:v>44584</c:v>
                </c:pt>
                <c:pt idx="423">
                  <c:v>44585</c:v>
                </c:pt>
                <c:pt idx="424">
                  <c:v>44586</c:v>
                </c:pt>
                <c:pt idx="425">
                  <c:v>44587</c:v>
                </c:pt>
                <c:pt idx="426">
                  <c:v>44588</c:v>
                </c:pt>
                <c:pt idx="427">
                  <c:v>44589</c:v>
                </c:pt>
                <c:pt idx="428">
                  <c:v>44590</c:v>
                </c:pt>
                <c:pt idx="429">
                  <c:v>44591</c:v>
                </c:pt>
                <c:pt idx="430">
                  <c:v>44592</c:v>
                </c:pt>
                <c:pt idx="431">
                  <c:v>44593</c:v>
                </c:pt>
                <c:pt idx="432">
                  <c:v>44594</c:v>
                </c:pt>
                <c:pt idx="433">
                  <c:v>44595</c:v>
                </c:pt>
                <c:pt idx="434">
                  <c:v>44596</c:v>
                </c:pt>
                <c:pt idx="435">
                  <c:v>44597</c:v>
                </c:pt>
                <c:pt idx="436">
                  <c:v>44598</c:v>
                </c:pt>
                <c:pt idx="437">
                  <c:v>44599</c:v>
                </c:pt>
                <c:pt idx="438">
                  <c:v>44600</c:v>
                </c:pt>
                <c:pt idx="439">
                  <c:v>44601</c:v>
                </c:pt>
                <c:pt idx="440">
                  <c:v>44602</c:v>
                </c:pt>
                <c:pt idx="441">
                  <c:v>44603</c:v>
                </c:pt>
                <c:pt idx="442">
                  <c:v>44604</c:v>
                </c:pt>
                <c:pt idx="443">
                  <c:v>44605</c:v>
                </c:pt>
                <c:pt idx="444">
                  <c:v>44606</c:v>
                </c:pt>
                <c:pt idx="445">
                  <c:v>44607</c:v>
                </c:pt>
                <c:pt idx="446">
                  <c:v>44608</c:v>
                </c:pt>
                <c:pt idx="447">
                  <c:v>44609</c:v>
                </c:pt>
                <c:pt idx="448">
                  <c:v>44610</c:v>
                </c:pt>
                <c:pt idx="449">
                  <c:v>44611</c:v>
                </c:pt>
                <c:pt idx="450">
                  <c:v>44612</c:v>
                </c:pt>
                <c:pt idx="451">
                  <c:v>44613</c:v>
                </c:pt>
                <c:pt idx="452">
                  <c:v>44614</c:v>
                </c:pt>
                <c:pt idx="453">
                  <c:v>44615</c:v>
                </c:pt>
                <c:pt idx="454">
                  <c:v>44616</c:v>
                </c:pt>
                <c:pt idx="455">
                  <c:v>44617</c:v>
                </c:pt>
              </c:numCache>
            </c:numRef>
          </c:cat>
          <c:val>
            <c:numRef>
              <c:f>Sheet1!$B$2:$B$457</c:f>
              <c:numCache>
                <c:formatCode>General</c:formatCode>
                <c:ptCount val="45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9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6</c:v>
                </c:pt>
                <c:pt idx="43">
                  <c:v>16</c:v>
                </c:pt>
                <c:pt idx="44">
                  <c:v>42</c:v>
                </c:pt>
                <c:pt idx="45">
                  <c:v>42</c:v>
                </c:pt>
                <c:pt idx="46">
                  <c:v>57</c:v>
                </c:pt>
                <c:pt idx="47">
                  <c:v>63</c:v>
                </c:pt>
                <c:pt idx="48">
                  <c:v>77</c:v>
                </c:pt>
                <c:pt idx="49">
                  <c:v>46</c:v>
                </c:pt>
                <c:pt idx="50">
                  <c:v>35</c:v>
                </c:pt>
                <c:pt idx="51">
                  <c:v>82</c:v>
                </c:pt>
                <c:pt idx="52">
                  <c:v>74</c:v>
                </c:pt>
                <c:pt idx="53">
                  <c:v>43</c:v>
                </c:pt>
                <c:pt idx="54">
                  <c:v>89</c:v>
                </c:pt>
                <c:pt idx="55">
                  <c:v>102</c:v>
                </c:pt>
                <c:pt idx="56">
                  <c:v>38</c:v>
                </c:pt>
                <c:pt idx="57">
                  <c:v>37</c:v>
                </c:pt>
                <c:pt idx="58">
                  <c:v>64</c:v>
                </c:pt>
                <c:pt idx="59">
                  <c:v>64</c:v>
                </c:pt>
                <c:pt idx="60">
                  <c:v>69</c:v>
                </c:pt>
                <c:pt idx="61">
                  <c:v>83</c:v>
                </c:pt>
                <c:pt idx="62">
                  <c:v>87</c:v>
                </c:pt>
                <c:pt idx="63">
                  <c:v>32</c:v>
                </c:pt>
                <c:pt idx="64">
                  <c:v>18</c:v>
                </c:pt>
                <c:pt idx="65">
                  <c:v>54</c:v>
                </c:pt>
                <c:pt idx="66">
                  <c:v>73</c:v>
                </c:pt>
                <c:pt idx="67">
                  <c:v>122</c:v>
                </c:pt>
                <c:pt idx="68">
                  <c:v>96</c:v>
                </c:pt>
                <c:pt idx="69">
                  <c:v>82</c:v>
                </c:pt>
                <c:pt idx="70">
                  <c:v>46</c:v>
                </c:pt>
                <c:pt idx="71">
                  <c:v>28</c:v>
                </c:pt>
                <c:pt idx="72">
                  <c:v>69</c:v>
                </c:pt>
                <c:pt idx="73">
                  <c:v>26</c:v>
                </c:pt>
                <c:pt idx="74">
                  <c:v>51</c:v>
                </c:pt>
                <c:pt idx="75">
                  <c:v>61</c:v>
                </c:pt>
                <c:pt idx="76">
                  <c:v>52</c:v>
                </c:pt>
                <c:pt idx="77">
                  <c:v>21</c:v>
                </c:pt>
                <c:pt idx="78">
                  <c:v>13</c:v>
                </c:pt>
                <c:pt idx="79">
                  <c:v>75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4</c:v>
                </c:pt>
                <c:pt idx="86">
                  <c:v>43</c:v>
                </c:pt>
                <c:pt idx="87">
                  <c:v>34</c:v>
                </c:pt>
                <c:pt idx="88">
                  <c:v>28</c:v>
                </c:pt>
                <c:pt idx="89">
                  <c:v>24</c:v>
                </c:pt>
                <c:pt idx="90">
                  <c:v>43</c:v>
                </c:pt>
                <c:pt idx="91">
                  <c:v>21</c:v>
                </c:pt>
                <c:pt idx="92">
                  <c:v>10</c:v>
                </c:pt>
                <c:pt idx="93">
                  <c:v>36</c:v>
                </c:pt>
                <c:pt idx="94">
                  <c:v>30</c:v>
                </c:pt>
                <c:pt idx="95">
                  <c:v>33</c:v>
                </c:pt>
                <c:pt idx="96">
                  <c:v>28</c:v>
                </c:pt>
                <c:pt idx="97">
                  <c:v>36</c:v>
                </c:pt>
                <c:pt idx="98">
                  <c:v>17</c:v>
                </c:pt>
                <c:pt idx="99">
                  <c:v>24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6</c:v>
                </c:pt>
                <c:pt idx="104">
                  <c:v>39</c:v>
                </c:pt>
                <c:pt idx="105">
                  <c:v>15</c:v>
                </c:pt>
                <c:pt idx="106">
                  <c:v>7</c:v>
                </c:pt>
                <c:pt idx="107">
                  <c:v>30</c:v>
                </c:pt>
                <c:pt idx="108">
                  <c:v>42</c:v>
                </c:pt>
                <c:pt idx="109">
                  <c:v>22</c:v>
                </c:pt>
                <c:pt idx="110">
                  <c:v>5</c:v>
                </c:pt>
                <c:pt idx="111">
                  <c:v>23</c:v>
                </c:pt>
                <c:pt idx="112">
                  <c:v>18</c:v>
                </c:pt>
                <c:pt idx="113">
                  <c:v>20</c:v>
                </c:pt>
                <c:pt idx="114">
                  <c:v>20</c:v>
                </c:pt>
                <c:pt idx="115">
                  <c:v>45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4</c:v>
                </c:pt>
                <c:pt idx="120">
                  <c:v>5</c:v>
                </c:pt>
                <c:pt idx="121">
                  <c:v>33</c:v>
                </c:pt>
                <c:pt idx="122">
                  <c:v>32</c:v>
                </c:pt>
                <c:pt idx="123">
                  <c:v>35</c:v>
                </c:pt>
                <c:pt idx="124">
                  <c:v>43</c:v>
                </c:pt>
                <c:pt idx="125">
                  <c:v>38</c:v>
                </c:pt>
                <c:pt idx="126">
                  <c:v>16</c:v>
                </c:pt>
                <c:pt idx="127">
                  <c:v>9</c:v>
                </c:pt>
                <c:pt idx="128">
                  <c:v>55</c:v>
                </c:pt>
                <c:pt idx="129">
                  <c:v>26</c:v>
                </c:pt>
                <c:pt idx="130">
                  <c:v>22</c:v>
                </c:pt>
                <c:pt idx="131">
                  <c:v>13</c:v>
                </c:pt>
                <c:pt idx="132">
                  <c:v>21</c:v>
                </c:pt>
                <c:pt idx="133">
                  <c:v>12</c:v>
                </c:pt>
                <c:pt idx="134">
                  <c:v>15</c:v>
                </c:pt>
                <c:pt idx="135">
                  <c:v>32</c:v>
                </c:pt>
                <c:pt idx="136">
                  <c:v>27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4</c:v>
                </c:pt>
                <c:pt idx="143">
                  <c:v>14</c:v>
                </c:pt>
                <c:pt idx="144">
                  <c:v>21</c:v>
                </c:pt>
                <c:pt idx="145">
                  <c:v>12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0</c:v>
                </c:pt>
                <c:pt idx="151">
                  <c:v>15</c:v>
                </c:pt>
                <c:pt idx="152">
                  <c:v>22</c:v>
                </c:pt>
                <c:pt idx="153">
                  <c:v>16</c:v>
                </c:pt>
                <c:pt idx="154">
                  <c:v>6</c:v>
                </c:pt>
                <c:pt idx="155">
                  <c:v>5</c:v>
                </c:pt>
                <c:pt idx="156">
                  <c:v>16</c:v>
                </c:pt>
                <c:pt idx="157">
                  <c:v>15</c:v>
                </c:pt>
                <c:pt idx="158">
                  <c:v>16</c:v>
                </c:pt>
                <c:pt idx="159">
                  <c:v>13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5</c:v>
                </c:pt>
                <c:pt idx="172">
                  <c:v>8</c:v>
                </c:pt>
                <c:pt idx="173">
                  <c:v>11</c:v>
                </c:pt>
                <c:pt idx="174">
                  <c:v>10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8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0</c:v>
                </c:pt>
                <c:pt idx="186">
                  <c:v>11</c:v>
                </c:pt>
                <c:pt idx="187">
                  <c:v>5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1</c:v>
                </c:pt>
                <c:pt idx="192">
                  <c:v>9</c:v>
                </c:pt>
                <c:pt idx="193">
                  <c:v>3</c:v>
                </c:pt>
                <c:pt idx="194">
                  <c:v>8</c:v>
                </c:pt>
                <c:pt idx="195">
                  <c:v>11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3</c:v>
                </c:pt>
                <c:pt idx="201">
                  <c:v>3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4</c:v>
                </c:pt>
                <c:pt idx="221">
                  <c:v>2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4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2</c:v>
                </c:pt>
                <c:pt idx="239">
                  <c:v>0</c:v>
                </c:pt>
                <c:pt idx="240">
                  <c:v>1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3</c:v>
                </c:pt>
                <c:pt idx="248">
                  <c:v>4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1</c:v>
                </c:pt>
                <c:pt idx="260">
                  <c:v>2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1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1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1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2</c:v>
                </c:pt>
                <c:pt idx="288">
                  <c:v>2</c:v>
                </c:pt>
                <c:pt idx="289">
                  <c:v>1</c:v>
                </c:pt>
                <c:pt idx="290">
                  <c:v>0</c:v>
                </c:pt>
                <c:pt idx="291">
                  <c:v>2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2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1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3</c:v>
                </c:pt>
                <c:pt idx="315">
                  <c:v>1</c:v>
                </c:pt>
                <c:pt idx="316">
                  <c:v>2</c:v>
                </c:pt>
                <c:pt idx="317">
                  <c:v>0</c:v>
                </c:pt>
                <c:pt idx="318">
                  <c:v>1</c:v>
                </c:pt>
                <c:pt idx="319">
                  <c:v>1</c:v>
                </c:pt>
                <c:pt idx="320">
                  <c:v>3</c:v>
                </c:pt>
                <c:pt idx="321">
                  <c:v>1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4</c:v>
                </c:pt>
                <c:pt idx="326">
                  <c:v>0</c:v>
                </c:pt>
                <c:pt idx="327">
                  <c:v>1</c:v>
                </c:pt>
                <c:pt idx="328">
                  <c:v>0</c:v>
                </c:pt>
                <c:pt idx="329">
                  <c:v>2</c:v>
                </c:pt>
                <c:pt idx="330">
                  <c:v>0</c:v>
                </c:pt>
                <c:pt idx="331">
                  <c:v>0</c:v>
                </c:pt>
                <c:pt idx="332">
                  <c:v>4</c:v>
                </c:pt>
                <c:pt idx="333">
                  <c:v>2</c:v>
                </c:pt>
                <c:pt idx="334">
                  <c:v>2</c:v>
                </c:pt>
                <c:pt idx="335">
                  <c:v>0</c:v>
                </c:pt>
                <c:pt idx="336">
                  <c:v>5</c:v>
                </c:pt>
                <c:pt idx="337">
                  <c:v>3</c:v>
                </c:pt>
                <c:pt idx="338">
                  <c:v>2</c:v>
                </c:pt>
                <c:pt idx="339">
                  <c:v>9</c:v>
                </c:pt>
                <c:pt idx="340">
                  <c:v>7</c:v>
                </c:pt>
                <c:pt idx="341">
                  <c:v>5</c:v>
                </c:pt>
                <c:pt idx="342">
                  <c:v>3</c:v>
                </c:pt>
                <c:pt idx="343">
                  <c:v>6</c:v>
                </c:pt>
                <c:pt idx="344">
                  <c:v>1</c:v>
                </c:pt>
                <c:pt idx="345">
                  <c:v>1</c:v>
                </c:pt>
                <c:pt idx="346">
                  <c:v>6</c:v>
                </c:pt>
                <c:pt idx="347">
                  <c:v>8</c:v>
                </c:pt>
                <c:pt idx="348">
                  <c:v>5</c:v>
                </c:pt>
                <c:pt idx="349">
                  <c:v>7</c:v>
                </c:pt>
                <c:pt idx="350">
                  <c:v>2</c:v>
                </c:pt>
                <c:pt idx="351">
                  <c:v>5</c:v>
                </c:pt>
                <c:pt idx="352">
                  <c:v>2</c:v>
                </c:pt>
                <c:pt idx="353">
                  <c:v>7</c:v>
                </c:pt>
                <c:pt idx="354">
                  <c:v>7</c:v>
                </c:pt>
                <c:pt idx="355">
                  <c:v>6</c:v>
                </c:pt>
                <c:pt idx="356">
                  <c:v>13</c:v>
                </c:pt>
                <c:pt idx="357">
                  <c:v>7</c:v>
                </c:pt>
                <c:pt idx="358">
                  <c:v>3</c:v>
                </c:pt>
                <c:pt idx="359">
                  <c:v>3</c:v>
                </c:pt>
                <c:pt idx="360">
                  <c:v>14</c:v>
                </c:pt>
                <c:pt idx="361">
                  <c:v>5</c:v>
                </c:pt>
                <c:pt idx="362">
                  <c:v>16</c:v>
                </c:pt>
                <c:pt idx="363">
                  <c:v>3</c:v>
                </c:pt>
                <c:pt idx="364">
                  <c:v>8</c:v>
                </c:pt>
                <c:pt idx="365">
                  <c:v>1</c:v>
                </c:pt>
                <c:pt idx="366">
                  <c:v>3</c:v>
                </c:pt>
                <c:pt idx="367">
                  <c:v>8</c:v>
                </c:pt>
                <c:pt idx="368">
                  <c:v>4</c:v>
                </c:pt>
                <c:pt idx="369">
                  <c:v>7</c:v>
                </c:pt>
                <c:pt idx="370">
                  <c:v>6</c:v>
                </c:pt>
                <c:pt idx="371">
                  <c:v>4</c:v>
                </c:pt>
                <c:pt idx="372">
                  <c:v>5</c:v>
                </c:pt>
                <c:pt idx="373">
                  <c:v>3</c:v>
                </c:pt>
                <c:pt idx="374">
                  <c:v>10</c:v>
                </c:pt>
                <c:pt idx="375">
                  <c:v>2</c:v>
                </c:pt>
                <c:pt idx="376">
                  <c:v>6</c:v>
                </c:pt>
                <c:pt idx="377">
                  <c:v>5</c:v>
                </c:pt>
                <c:pt idx="378">
                  <c:v>7</c:v>
                </c:pt>
                <c:pt idx="379">
                  <c:v>2</c:v>
                </c:pt>
                <c:pt idx="380">
                  <c:v>0</c:v>
                </c:pt>
                <c:pt idx="381">
                  <c:v>5</c:v>
                </c:pt>
                <c:pt idx="382">
                  <c:v>2</c:v>
                </c:pt>
                <c:pt idx="383">
                  <c:v>1</c:v>
                </c:pt>
                <c:pt idx="384">
                  <c:v>3</c:v>
                </c:pt>
                <c:pt idx="385">
                  <c:v>3</c:v>
                </c:pt>
                <c:pt idx="386">
                  <c:v>0</c:v>
                </c:pt>
                <c:pt idx="387">
                  <c:v>1</c:v>
                </c:pt>
                <c:pt idx="388">
                  <c:v>7</c:v>
                </c:pt>
                <c:pt idx="389">
                  <c:v>3</c:v>
                </c:pt>
                <c:pt idx="390">
                  <c:v>3</c:v>
                </c:pt>
                <c:pt idx="391">
                  <c:v>1</c:v>
                </c:pt>
                <c:pt idx="392">
                  <c:v>1</c:v>
                </c:pt>
                <c:pt idx="393">
                  <c:v>1</c:v>
                </c:pt>
                <c:pt idx="394">
                  <c:v>0</c:v>
                </c:pt>
                <c:pt idx="395">
                  <c:v>3</c:v>
                </c:pt>
                <c:pt idx="396">
                  <c:v>3</c:v>
                </c:pt>
                <c:pt idx="397">
                  <c:v>3</c:v>
                </c:pt>
                <c:pt idx="398">
                  <c:v>0</c:v>
                </c:pt>
                <c:pt idx="399">
                  <c:v>3</c:v>
                </c:pt>
                <c:pt idx="400">
                  <c:v>1</c:v>
                </c:pt>
                <c:pt idx="401">
                  <c:v>0</c:v>
                </c:pt>
                <c:pt idx="402">
                  <c:v>3</c:v>
                </c:pt>
                <c:pt idx="403">
                  <c:v>1</c:v>
                </c:pt>
                <c:pt idx="404">
                  <c:v>3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2</c:v>
                </c:pt>
                <c:pt idx="410">
                  <c:v>0</c:v>
                </c:pt>
                <c:pt idx="411">
                  <c:v>2</c:v>
                </c:pt>
                <c:pt idx="412">
                  <c:v>0</c:v>
                </c:pt>
                <c:pt idx="413">
                  <c:v>5</c:v>
                </c:pt>
                <c:pt idx="414">
                  <c:v>0</c:v>
                </c:pt>
                <c:pt idx="415">
                  <c:v>2</c:v>
                </c:pt>
                <c:pt idx="416">
                  <c:v>3</c:v>
                </c:pt>
                <c:pt idx="417">
                  <c:v>6</c:v>
                </c:pt>
                <c:pt idx="418">
                  <c:v>1</c:v>
                </c:pt>
                <c:pt idx="419">
                  <c:v>2</c:v>
                </c:pt>
                <c:pt idx="420">
                  <c:v>2</c:v>
                </c:pt>
                <c:pt idx="421">
                  <c:v>0</c:v>
                </c:pt>
                <c:pt idx="422">
                  <c:v>1</c:v>
                </c:pt>
                <c:pt idx="423">
                  <c:v>9</c:v>
                </c:pt>
                <c:pt idx="424">
                  <c:v>7</c:v>
                </c:pt>
                <c:pt idx="425">
                  <c:v>8</c:v>
                </c:pt>
                <c:pt idx="426">
                  <c:v>4</c:v>
                </c:pt>
                <c:pt idx="427">
                  <c:v>6</c:v>
                </c:pt>
                <c:pt idx="428">
                  <c:v>2</c:v>
                </c:pt>
                <c:pt idx="429">
                  <c:v>2</c:v>
                </c:pt>
                <c:pt idx="430">
                  <c:v>2</c:v>
                </c:pt>
                <c:pt idx="431">
                  <c:v>9</c:v>
                </c:pt>
                <c:pt idx="432">
                  <c:v>7</c:v>
                </c:pt>
                <c:pt idx="433">
                  <c:v>6</c:v>
                </c:pt>
                <c:pt idx="434">
                  <c:v>12</c:v>
                </c:pt>
                <c:pt idx="435">
                  <c:v>3</c:v>
                </c:pt>
                <c:pt idx="436">
                  <c:v>3</c:v>
                </c:pt>
                <c:pt idx="437">
                  <c:v>5</c:v>
                </c:pt>
                <c:pt idx="438">
                  <c:v>11</c:v>
                </c:pt>
                <c:pt idx="439">
                  <c:v>5</c:v>
                </c:pt>
                <c:pt idx="440">
                  <c:v>7</c:v>
                </c:pt>
                <c:pt idx="441">
                  <c:v>6</c:v>
                </c:pt>
                <c:pt idx="442">
                  <c:v>2</c:v>
                </c:pt>
                <c:pt idx="443">
                  <c:v>1</c:v>
                </c:pt>
                <c:pt idx="444">
                  <c:v>9</c:v>
                </c:pt>
                <c:pt idx="445">
                  <c:v>4</c:v>
                </c:pt>
                <c:pt idx="446">
                  <c:v>7</c:v>
                </c:pt>
                <c:pt idx="447">
                  <c:v>2</c:v>
                </c:pt>
                <c:pt idx="448">
                  <c:v>3</c:v>
                </c:pt>
                <c:pt idx="449">
                  <c:v>2</c:v>
                </c:pt>
                <c:pt idx="450">
                  <c:v>3</c:v>
                </c:pt>
                <c:pt idx="451">
                  <c:v>6</c:v>
                </c:pt>
                <c:pt idx="452">
                  <c:v>10</c:v>
                </c:pt>
                <c:pt idx="453">
                  <c:v>5</c:v>
                </c:pt>
                <c:pt idx="454">
                  <c:v>2</c:v>
                </c:pt>
                <c:pt idx="45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  <c:max val="44620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7</c:f>
              <c:numCache>
                <c:formatCode>m/d/yyyy</c:formatCode>
                <c:ptCount val="456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4</c:v>
                </c:pt>
                <c:pt idx="262">
                  <c:v>44358</c:v>
                </c:pt>
                <c:pt idx="263">
                  <c:v>44364</c:v>
                </c:pt>
                <c:pt idx="264">
                  <c:v>44370</c:v>
                </c:pt>
                <c:pt idx="265">
                  <c:v>44371</c:v>
                </c:pt>
                <c:pt idx="266">
                  <c:v>44377</c:v>
                </c:pt>
                <c:pt idx="267">
                  <c:v>44378</c:v>
                </c:pt>
                <c:pt idx="268">
                  <c:v>44381</c:v>
                </c:pt>
                <c:pt idx="269">
                  <c:v>44384</c:v>
                </c:pt>
                <c:pt idx="270">
                  <c:v>44385</c:v>
                </c:pt>
                <c:pt idx="271">
                  <c:v>44388</c:v>
                </c:pt>
                <c:pt idx="272">
                  <c:v>44398</c:v>
                </c:pt>
                <c:pt idx="273">
                  <c:v>44401</c:v>
                </c:pt>
                <c:pt idx="274">
                  <c:v>44404</c:v>
                </c:pt>
                <c:pt idx="275">
                  <c:v>44405</c:v>
                </c:pt>
                <c:pt idx="276">
                  <c:v>44416</c:v>
                </c:pt>
                <c:pt idx="277">
                  <c:v>44419</c:v>
                </c:pt>
                <c:pt idx="278">
                  <c:v>44424</c:v>
                </c:pt>
                <c:pt idx="279">
                  <c:v>44425</c:v>
                </c:pt>
                <c:pt idx="280">
                  <c:v>44427</c:v>
                </c:pt>
                <c:pt idx="281">
                  <c:v>44431</c:v>
                </c:pt>
                <c:pt idx="282">
                  <c:v>44434</c:v>
                </c:pt>
                <c:pt idx="283">
                  <c:v>44435</c:v>
                </c:pt>
                <c:pt idx="284">
                  <c:v>44436</c:v>
                </c:pt>
                <c:pt idx="285">
                  <c:v>44440</c:v>
                </c:pt>
                <c:pt idx="286">
                  <c:v>44441</c:v>
                </c:pt>
                <c:pt idx="287">
                  <c:v>44442</c:v>
                </c:pt>
                <c:pt idx="288">
                  <c:v>44443</c:v>
                </c:pt>
                <c:pt idx="289">
                  <c:v>44445</c:v>
                </c:pt>
                <c:pt idx="290">
                  <c:v>44446</c:v>
                </c:pt>
                <c:pt idx="291">
                  <c:v>44447</c:v>
                </c:pt>
                <c:pt idx="292">
                  <c:v>44448</c:v>
                </c:pt>
                <c:pt idx="293">
                  <c:v>44449</c:v>
                </c:pt>
                <c:pt idx="294">
                  <c:v>44451</c:v>
                </c:pt>
                <c:pt idx="295">
                  <c:v>44452</c:v>
                </c:pt>
                <c:pt idx="296">
                  <c:v>44453</c:v>
                </c:pt>
                <c:pt idx="297">
                  <c:v>44457</c:v>
                </c:pt>
                <c:pt idx="298">
                  <c:v>44459</c:v>
                </c:pt>
                <c:pt idx="299">
                  <c:v>44460</c:v>
                </c:pt>
                <c:pt idx="300">
                  <c:v>44461</c:v>
                </c:pt>
                <c:pt idx="301">
                  <c:v>44464</c:v>
                </c:pt>
                <c:pt idx="302">
                  <c:v>44465</c:v>
                </c:pt>
                <c:pt idx="303">
                  <c:v>44466</c:v>
                </c:pt>
                <c:pt idx="304">
                  <c:v>44467</c:v>
                </c:pt>
                <c:pt idx="305">
                  <c:v>44468</c:v>
                </c:pt>
                <c:pt idx="306">
                  <c:v>44469</c:v>
                </c:pt>
                <c:pt idx="307">
                  <c:v>44470</c:v>
                </c:pt>
                <c:pt idx="308">
                  <c:v>44471</c:v>
                </c:pt>
                <c:pt idx="309">
                  <c:v>44472</c:v>
                </c:pt>
                <c:pt idx="310">
                  <c:v>44473</c:v>
                </c:pt>
                <c:pt idx="311">
                  <c:v>44474</c:v>
                </c:pt>
                <c:pt idx="312">
                  <c:v>44475</c:v>
                </c:pt>
                <c:pt idx="313">
                  <c:v>44476</c:v>
                </c:pt>
                <c:pt idx="314">
                  <c:v>44477</c:v>
                </c:pt>
                <c:pt idx="315">
                  <c:v>44478</c:v>
                </c:pt>
                <c:pt idx="316">
                  <c:v>44480</c:v>
                </c:pt>
                <c:pt idx="317">
                  <c:v>44481</c:v>
                </c:pt>
                <c:pt idx="318">
                  <c:v>44482</c:v>
                </c:pt>
                <c:pt idx="319">
                  <c:v>44483</c:v>
                </c:pt>
                <c:pt idx="320">
                  <c:v>44484</c:v>
                </c:pt>
                <c:pt idx="321">
                  <c:v>44485</c:v>
                </c:pt>
                <c:pt idx="322">
                  <c:v>44486</c:v>
                </c:pt>
                <c:pt idx="323">
                  <c:v>44487</c:v>
                </c:pt>
                <c:pt idx="324">
                  <c:v>44488</c:v>
                </c:pt>
                <c:pt idx="325">
                  <c:v>44489</c:v>
                </c:pt>
                <c:pt idx="326">
                  <c:v>44490</c:v>
                </c:pt>
                <c:pt idx="327">
                  <c:v>44491</c:v>
                </c:pt>
                <c:pt idx="328">
                  <c:v>44492</c:v>
                </c:pt>
                <c:pt idx="329">
                  <c:v>44493</c:v>
                </c:pt>
                <c:pt idx="330">
                  <c:v>44494</c:v>
                </c:pt>
                <c:pt idx="331">
                  <c:v>44495</c:v>
                </c:pt>
                <c:pt idx="332">
                  <c:v>44496</c:v>
                </c:pt>
                <c:pt idx="333">
                  <c:v>44497</c:v>
                </c:pt>
                <c:pt idx="334">
                  <c:v>44498</c:v>
                </c:pt>
                <c:pt idx="335">
                  <c:v>44499</c:v>
                </c:pt>
                <c:pt idx="336">
                  <c:v>44500</c:v>
                </c:pt>
                <c:pt idx="337">
                  <c:v>44501</c:v>
                </c:pt>
                <c:pt idx="338">
                  <c:v>44502</c:v>
                </c:pt>
                <c:pt idx="339">
                  <c:v>44503</c:v>
                </c:pt>
                <c:pt idx="340">
                  <c:v>44504</c:v>
                </c:pt>
                <c:pt idx="341">
                  <c:v>44505</c:v>
                </c:pt>
                <c:pt idx="342">
                  <c:v>44506</c:v>
                </c:pt>
                <c:pt idx="343">
                  <c:v>44507</c:v>
                </c:pt>
                <c:pt idx="344">
                  <c:v>44508</c:v>
                </c:pt>
                <c:pt idx="345">
                  <c:v>44509</c:v>
                </c:pt>
                <c:pt idx="346">
                  <c:v>44510</c:v>
                </c:pt>
                <c:pt idx="347">
                  <c:v>44511</c:v>
                </c:pt>
                <c:pt idx="348">
                  <c:v>44512</c:v>
                </c:pt>
                <c:pt idx="349">
                  <c:v>44513</c:v>
                </c:pt>
                <c:pt idx="350">
                  <c:v>44514</c:v>
                </c:pt>
                <c:pt idx="351">
                  <c:v>44515</c:v>
                </c:pt>
                <c:pt idx="352">
                  <c:v>44516</c:v>
                </c:pt>
                <c:pt idx="353">
                  <c:v>44517</c:v>
                </c:pt>
                <c:pt idx="354">
                  <c:v>44518</c:v>
                </c:pt>
                <c:pt idx="355">
                  <c:v>44519</c:v>
                </c:pt>
                <c:pt idx="356">
                  <c:v>44520</c:v>
                </c:pt>
                <c:pt idx="357">
                  <c:v>44521</c:v>
                </c:pt>
                <c:pt idx="358">
                  <c:v>44522</c:v>
                </c:pt>
                <c:pt idx="359">
                  <c:v>44523</c:v>
                </c:pt>
                <c:pt idx="360">
                  <c:v>44524</c:v>
                </c:pt>
                <c:pt idx="361">
                  <c:v>44525</c:v>
                </c:pt>
                <c:pt idx="362">
                  <c:v>44526</c:v>
                </c:pt>
                <c:pt idx="363">
                  <c:v>44527</c:v>
                </c:pt>
                <c:pt idx="364">
                  <c:v>44528</c:v>
                </c:pt>
                <c:pt idx="365">
                  <c:v>44529</c:v>
                </c:pt>
                <c:pt idx="366">
                  <c:v>44530</c:v>
                </c:pt>
                <c:pt idx="367">
                  <c:v>44531</c:v>
                </c:pt>
                <c:pt idx="368">
                  <c:v>44532</c:v>
                </c:pt>
                <c:pt idx="369">
                  <c:v>44533</c:v>
                </c:pt>
                <c:pt idx="370">
                  <c:v>44534</c:v>
                </c:pt>
                <c:pt idx="371">
                  <c:v>44535</c:v>
                </c:pt>
                <c:pt idx="372">
                  <c:v>44536</c:v>
                </c:pt>
                <c:pt idx="373">
                  <c:v>44537</c:v>
                </c:pt>
                <c:pt idx="374">
                  <c:v>44538</c:v>
                </c:pt>
                <c:pt idx="375">
                  <c:v>44539</c:v>
                </c:pt>
                <c:pt idx="376">
                  <c:v>44540</c:v>
                </c:pt>
                <c:pt idx="377">
                  <c:v>44541</c:v>
                </c:pt>
                <c:pt idx="378">
                  <c:v>44542</c:v>
                </c:pt>
                <c:pt idx="379">
                  <c:v>44543</c:v>
                </c:pt>
                <c:pt idx="380">
                  <c:v>44544</c:v>
                </c:pt>
                <c:pt idx="381">
                  <c:v>44545</c:v>
                </c:pt>
                <c:pt idx="382">
                  <c:v>44546</c:v>
                </c:pt>
                <c:pt idx="383">
                  <c:v>44547</c:v>
                </c:pt>
                <c:pt idx="384">
                  <c:v>44548</c:v>
                </c:pt>
                <c:pt idx="385">
                  <c:v>44549</c:v>
                </c:pt>
                <c:pt idx="386">
                  <c:v>44550</c:v>
                </c:pt>
                <c:pt idx="387">
                  <c:v>44551</c:v>
                </c:pt>
                <c:pt idx="388">
                  <c:v>44552</c:v>
                </c:pt>
                <c:pt idx="389">
                  <c:v>44553</c:v>
                </c:pt>
                <c:pt idx="390">
                  <c:v>44554</c:v>
                </c:pt>
                <c:pt idx="391">
                  <c:v>44555</c:v>
                </c:pt>
                <c:pt idx="392">
                  <c:v>44556</c:v>
                </c:pt>
                <c:pt idx="393">
                  <c:v>44557</c:v>
                </c:pt>
                <c:pt idx="394">
                  <c:v>44558</c:v>
                </c:pt>
                <c:pt idx="395">
                  <c:v>44559</c:v>
                </c:pt>
                <c:pt idx="396">
                  <c:v>44560</c:v>
                </c:pt>
                <c:pt idx="397">
                  <c:v>44561</c:v>
                </c:pt>
                <c:pt idx="398">
                  <c:v>44562</c:v>
                </c:pt>
                <c:pt idx="399">
                  <c:v>44563</c:v>
                </c:pt>
                <c:pt idx="400">
                  <c:v>44564</c:v>
                </c:pt>
                <c:pt idx="401">
                  <c:v>44565</c:v>
                </c:pt>
                <c:pt idx="402">
                  <c:v>44566</c:v>
                </c:pt>
                <c:pt idx="403">
                  <c:v>44567</c:v>
                </c:pt>
                <c:pt idx="404">
                  <c:v>44568</c:v>
                </c:pt>
                <c:pt idx="405">
                  <c:v>44569</c:v>
                </c:pt>
                <c:pt idx="406">
                  <c:v>44570</c:v>
                </c:pt>
                <c:pt idx="407">
                  <c:v>44571</c:v>
                </c:pt>
                <c:pt idx="408">
                  <c:v>44572</c:v>
                </c:pt>
                <c:pt idx="409">
                  <c:v>44573</c:v>
                </c:pt>
                <c:pt idx="410">
                  <c:v>44574</c:v>
                </c:pt>
                <c:pt idx="411">
                  <c:v>44575</c:v>
                </c:pt>
                <c:pt idx="412">
                  <c:v>44576</c:v>
                </c:pt>
                <c:pt idx="413">
                  <c:v>44577</c:v>
                </c:pt>
                <c:pt idx="414">
                  <c:v>44578</c:v>
                </c:pt>
                <c:pt idx="415">
                  <c:v>44579</c:v>
                </c:pt>
                <c:pt idx="416">
                  <c:v>44580</c:v>
                </c:pt>
                <c:pt idx="417">
                  <c:v>44581</c:v>
                </c:pt>
                <c:pt idx="418">
                  <c:v>44582</c:v>
                </c:pt>
                <c:pt idx="419">
                  <c:v>44583</c:v>
                </c:pt>
                <c:pt idx="420">
                  <c:v>44584</c:v>
                </c:pt>
                <c:pt idx="421">
                  <c:v>44585</c:v>
                </c:pt>
                <c:pt idx="422">
                  <c:v>44586</c:v>
                </c:pt>
                <c:pt idx="423">
                  <c:v>44587</c:v>
                </c:pt>
                <c:pt idx="424">
                  <c:v>44588</c:v>
                </c:pt>
                <c:pt idx="425">
                  <c:v>44589</c:v>
                </c:pt>
                <c:pt idx="426">
                  <c:v>44590</c:v>
                </c:pt>
                <c:pt idx="427">
                  <c:v>44591</c:v>
                </c:pt>
                <c:pt idx="428">
                  <c:v>44592</c:v>
                </c:pt>
                <c:pt idx="429">
                  <c:v>44593</c:v>
                </c:pt>
                <c:pt idx="430">
                  <c:v>44594</c:v>
                </c:pt>
                <c:pt idx="431">
                  <c:v>44595</c:v>
                </c:pt>
                <c:pt idx="432">
                  <c:v>44596</c:v>
                </c:pt>
                <c:pt idx="433">
                  <c:v>44597</c:v>
                </c:pt>
                <c:pt idx="434">
                  <c:v>44598</c:v>
                </c:pt>
                <c:pt idx="435">
                  <c:v>44599</c:v>
                </c:pt>
                <c:pt idx="436">
                  <c:v>44600</c:v>
                </c:pt>
                <c:pt idx="437">
                  <c:v>44601</c:v>
                </c:pt>
                <c:pt idx="438">
                  <c:v>44602</c:v>
                </c:pt>
                <c:pt idx="439">
                  <c:v>44603</c:v>
                </c:pt>
                <c:pt idx="440">
                  <c:v>44604</c:v>
                </c:pt>
                <c:pt idx="441">
                  <c:v>44605</c:v>
                </c:pt>
                <c:pt idx="442">
                  <c:v>44606</c:v>
                </c:pt>
                <c:pt idx="443">
                  <c:v>44607</c:v>
                </c:pt>
                <c:pt idx="444">
                  <c:v>44608</c:v>
                </c:pt>
                <c:pt idx="445">
                  <c:v>44609</c:v>
                </c:pt>
                <c:pt idx="446">
                  <c:v>44610</c:v>
                </c:pt>
                <c:pt idx="447">
                  <c:v>44611</c:v>
                </c:pt>
                <c:pt idx="448">
                  <c:v>44612</c:v>
                </c:pt>
                <c:pt idx="449">
                  <c:v>44613</c:v>
                </c:pt>
                <c:pt idx="450">
                  <c:v>44614</c:v>
                </c:pt>
                <c:pt idx="451">
                  <c:v>44615</c:v>
                </c:pt>
                <c:pt idx="452">
                  <c:v>44616</c:v>
                </c:pt>
                <c:pt idx="453">
                  <c:v>44617</c:v>
                </c:pt>
              </c:numCache>
            </c:numRef>
          </c:cat>
          <c:val>
            <c:numRef>
              <c:f>Sheet1!$B$2:$B$457</c:f>
              <c:numCache>
                <c:formatCode>General</c:formatCode>
                <c:ptCount val="4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5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7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0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2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20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3</c:v>
                </c:pt>
                <c:pt idx="90">
                  <c:v>9</c:v>
                </c:pt>
                <c:pt idx="91">
                  <c:v>3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8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6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6">
                  <c:v>1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3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1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1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1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1</c:v>
                </c:pt>
                <c:pt idx="320">
                  <c:v>1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3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1</c:v>
                </c:pt>
                <c:pt idx="339">
                  <c:v>2</c:v>
                </c:pt>
                <c:pt idx="340">
                  <c:v>2</c:v>
                </c:pt>
                <c:pt idx="341">
                  <c:v>1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0</c:v>
                </c:pt>
                <c:pt idx="347">
                  <c:v>3</c:v>
                </c:pt>
                <c:pt idx="348">
                  <c:v>0</c:v>
                </c:pt>
                <c:pt idx="349">
                  <c:v>1</c:v>
                </c:pt>
                <c:pt idx="350">
                  <c:v>0</c:v>
                </c:pt>
                <c:pt idx="351">
                  <c:v>2</c:v>
                </c:pt>
                <c:pt idx="352">
                  <c:v>2</c:v>
                </c:pt>
                <c:pt idx="353">
                  <c:v>1</c:v>
                </c:pt>
                <c:pt idx="354">
                  <c:v>1</c:v>
                </c:pt>
                <c:pt idx="355">
                  <c:v>0</c:v>
                </c:pt>
                <c:pt idx="356">
                  <c:v>6</c:v>
                </c:pt>
                <c:pt idx="357">
                  <c:v>3</c:v>
                </c:pt>
                <c:pt idx="358">
                  <c:v>1</c:v>
                </c:pt>
                <c:pt idx="359">
                  <c:v>2</c:v>
                </c:pt>
                <c:pt idx="360">
                  <c:v>2</c:v>
                </c:pt>
                <c:pt idx="361">
                  <c:v>0</c:v>
                </c:pt>
                <c:pt idx="362">
                  <c:v>5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2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2</c:v>
                </c:pt>
                <c:pt idx="389">
                  <c:v>0</c:v>
                </c:pt>
                <c:pt idx="390">
                  <c:v>1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1</c:v>
                </c:pt>
                <c:pt idx="403">
                  <c:v>0</c:v>
                </c:pt>
                <c:pt idx="404">
                  <c:v>1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1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3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3</c:v>
                </c:pt>
                <c:pt idx="426">
                  <c:v>0</c:v>
                </c:pt>
                <c:pt idx="427">
                  <c:v>1</c:v>
                </c:pt>
                <c:pt idx="428">
                  <c:v>0</c:v>
                </c:pt>
                <c:pt idx="429">
                  <c:v>0</c:v>
                </c:pt>
                <c:pt idx="430">
                  <c:v>1</c:v>
                </c:pt>
                <c:pt idx="431">
                  <c:v>3</c:v>
                </c:pt>
                <c:pt idx="432">
                  <c:v>1</c:v>
                </c:pt>
                <c:pt idx="433">
                  <c:v>2</c:v>
                </c:pt>
                <c:pt idx="434">
                  <c:v>2</c:v>
                </c:pt>
                <c:pt idx="435">
                  <c:v>1</c:v>
                </c:pt>
                <c:pt idx="436">
                  <c:v>1</c:v>
                </c:pt>
                <c:pt idx="437">
                  <c:v>1</c:v>
                </c:pt>
                <c:pt idx="438">
                  <c:v>1</c:v>
                </c:pt>
                <c:pt idx="439">
                  <c:v>0</c:v>
                </c:pt>
                <c:pt idx="440">
                  <c:v>0</c:v>
                </c:pt>
                <c:pt idx="441">
                  <c:v>1</c:v>
                </c:pt>
                <c:pt idx="442">
                  <c:v>1</c:v>
                </c:pt>
                <c:pt idx="443">
                  <c:v>0</c:v>
                </c:pt>
                <c:pt idx="444">
                  <c:v>1</c:v>
                </c:pt>
                <c:pt idx="445">
                  <c:v>1</c:v>
                </c:pt>
                <c:pt idx="446">
                  <c:v>0</c:v>
                </c:pt>
                <c:pt idx="447">
                  <c:v>1</c:v>
                </c:pt>
                <c:pt idx="448">
                  <c:v>0</c:v>
                </c:pt>
                <c:pt idx="449">
                  <c:v>0</c:v>
                </c:pt>
                <c:pt idx="450">
                  <c:v>1</c:v>
                </c:pt>
                <c:pt idx="451">
                  <c:v>1</c:v>
                </c:pt>
                <c:pt idx="452">
                  <c:v>1</c:v>
                </c:pt>
                <c:pt idx="45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49</c:v>
                </c:pt>
                <c:pt idx="4">
                  <c:v>296</c:v>
                </c:pt>
                <c:pt idx="5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50</c:v>
                </c:pt>
                <c:pt idx="1">
                  <c:v>694</c:v>
                </c:pt>
                <c:pt idx="2">
                  <c:v>325</c:v>
                </c:pt>
                <c:pt idx="3">
                  <c:v>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729672111125</c:v>
                </c:pt>
                <c:pt idx="1">
                  <c:v>0.1814270327888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2330033692898366</c:v>
                </c:pt>
                <c:pt idx="1">
                  <c:v>0.27669966307101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0542204508952469</c:v>
                </c:pt>
                <c:pt idx="1">
                  <c:v>0.394577954910475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6.02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0.xml"/><Relationship Id="rId5" Type="http://schemas.openxmlformats.org/officeDocument/2006/relationships/tags" Target="../tags/tag15.xml"/><Relationship Id="rId10" Type="http://schemas.openxmlformats.org/officeDocument/2006/relationships/chart" Target="../charts/chart9.xml"/><Relationship Id="rId4" Type="http://schemas.openxmlformats.org/officeDocument/2006/relationships/tags" Target="../tags/tag14.xml"/><Relationship Id="rId9" Type="http://schemas.openxmlformats.org/officeDocument/2006/relationships/chart" Target="../charts/char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2.xml"/><Relationship Id="rId5" Type="http://schemas.openxmlformats.org/officeDocument/2006/relationships/tags" Target="../tags/tag22.xml"/><Relationship Id="rId10" Type="http://schemas.openxmlformats.org/officeDocument/2006/relationships/chart" Target="../charts/chart11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068450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176561"/>
              </p:ext>
            </p:extLst>
          </p:nvPr>
        </p:nvGraphicFramePr>
        <p:xfrm>
          <a:off x="1372685" y="1009672"/>
          <a:ext cx="9684753" cy="542922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880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868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16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2380309"/>
              </p:ext>
            </p:extLst>
          </p:nvPr>
        </p:nvGraphicFramePr>
        <p:xfrm>
          <a:off x="1372685" y="1009673"/>
          <a:ext cx="9684753" cy="53244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44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21649236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2798790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5711495"/>
                  </a:ext>
                </a:extLst>
              </a:tr>
              <a:tr h="1969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2. – 26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961245"/>
              </p:ext>
            </p:extLst>
          </p:nvPr>
        </p:nvGraphicFramePr>
        <p:xfrm>
          <a:off x="1372685" y="1009673"/>
          <a:ext cx="9684753" cy="472438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447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2357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4486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83419"/>
            <a:ext cx="1168747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480176"/>
            <a:ext cx="115785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ů nákazy personálu a 42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lientů, z nichž 29 zemřelo. V únoru dosud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43 nákaz pracovníků a 994 nákaz klientů, z nichž 6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9089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3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86%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2857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9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7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6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8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1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2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533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88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2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5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53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21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</p:spTree>
    <p:extLst>
      <p:ext uri="{BB962C8B-B14F-4D97-AF65-F5344CB8AC3E}">
        <p14:creationId xmlns:p14="http://schemas.microsoft.com/office/powerpoint/2010/main" val="3987314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2 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1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2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558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</p:spTree>
    <p:extLst>
      <p:ext uri="{BB962C8B-B14F-4D97-AF65-F5344CB8AC3E}">
        <p14:creationId xmlns:p14="http://schemas.microsoft.com/office/powerpoint/2010/main" val="13282979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</p:spTree>
    <p:extLst>
      <p:ext uri="{BB962C8B-B14F-4D97-AF65-F5344CB8AC3E}">
        <p14:creationId xmlns:p14="http://schemas.microsoft.com/office/powerpoint/2010/main" val="2803153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</p:spTree>
    <p:extLst>
      <p:ext uri="{BB962C8B-B14F-4D97-AF65-F5344CB8AC3E}">
        <p14:creationId xmlns:p14="http://schemas.microsoft.com/office/powerpoint/2010/main" val="11545590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643370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80938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6385992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36358" y="951384"/>
          <a:ext cx="11724467" cy="5641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79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12102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26.2.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9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93006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0532204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88368"/>
          <a:ext cx="11895207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15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16647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9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dirty="0"/>
                        <a:t>k 26.2.</a:t>
                      </a:r>
                      <a:endParaRPr kumimoji="0" lang="cs-CZ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1041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139483"/>
              </p:ext>
            </p:ext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285489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701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3 událostí s 1 624 nakaženými (stav k 26. 2.). V současnosti tedy registrujeme nárůst počtu nákaz, za necelou polovinu února je nehlášeno více ohnisek a nakažených než za celý leden 2022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916748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BB1BC115-CC89-4C74-A7D5-04648D6547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049478"/>
              </p:ext>
            </p:extLst>
          </p:nvPr>
        </p:nvGraphicFramePr>
        <p:xfrm>
          <a:off x="1003518" y="5723958"/>
          <a:ext cx="10940832" cy="731520"/>
        </p:xfrm>
        <a:graphic>
          <a:graphicData uri="http://schemas.openxmlformats.org/drawingml/2006/table">
            <a:tbl>
              <a:tblPr/>
              <a:tblGrid>
                <a:gridCol w="113967">
                  <a:extLst>
                    <a:ext uri="{9D8B030D-6E8A-4147-A177-3AD203B41FA5}">
                      <a16:colId xmlns:a16="http://schemas.microsoft.com/office/drawing/2014/main" val="77966727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63423623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65789022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96054250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72969176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07764093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89130579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57754735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9327029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01151736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889947564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04536908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28977136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67866544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12537188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24088889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89825550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1879383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11173431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54124511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859380774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1700689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26631819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0020945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86989832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0851339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6018046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03327183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0417233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61283894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20159445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58187882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07668231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81096799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89758714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50303935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07611977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25207780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66903183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55625626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43997473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36243969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9894636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04858845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88286387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8411242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41528413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36375299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20591409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99355454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41636205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60661212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53758070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74867513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96933559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15618828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76051863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57813144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99838085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29054618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84819113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60160370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1231245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83547067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95886828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76610854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99535148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96611316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0918101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22075831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1374410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21515702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06495967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56666134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57689175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66456958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131040697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52812812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545420546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59977902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21930171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02291677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571115324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03911765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26419293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042259183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21956854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633750104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55163153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243930509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2143993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353526885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411831722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1499732918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3461392620"/>
                    </a:ext>
                  </a:extLst>
                </a:gridCol>
                <a:gridCol w="113967">
                  <a:extLst>
                    <a:ext uri="{9D8B030D-6E8A-4147-A177-3AD203B41FA5}">
                      <a16:colId xmlns:a16="http://schemas.microsoft.com/office/drawing/2014/main" val="210580171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771979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266608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6152890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2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536046E-43D0-416D-B5F6-E059D9A29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48568"/>
              </p:ext>
            </p:extLst>
          </p:nvPr>
        </p:nvGraphicFramePr>
        <p:xfrm>
          <a:off x="7428768" y="5737704"/>
          <a:ext cx="4564868" cy="731520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311509234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10155692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730971240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77478866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08511583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92945812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2026893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8149973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8757544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66076545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73037729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41123892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08842356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58417106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09712335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01192889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35588560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96898588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25165769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48693820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3809337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37343354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7516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5612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8453466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2/2022 k 26. 2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6. 2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285062"/>
              </p:ext>
            </p:extLst>
          </p:nvPr>
        </p:nvGraphicFramePr>
        <p:xfrm>
          <a:off x="123825" y="1028653"/>
          <a:ext cx="6483887" cy="5476511"/>
        </p:xfrm>
        <a:graphic>
          <a:graphicData uri="http://schemas.openxmlformats.org/drawingml/2006/table">
            <a:tbl>
              <a:tblPr/>
              <a:tblGrid>
                <a:gridCol w="55666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42337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6. 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4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5A1EEA8E-5716-4024-BCD3-55B7CBFE4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441445"/>
              </p:ext>
            </p:extLst>
          </p:nvPr>
        </p:nvGraphicFramePr>
        <p:xfrm>
          <a:off x="7428768" y="1226605"/>
          <a:ext cx="4564868" cy="466711"/>
        </p:xfrm>
        <a:graphic>
          <a:graphicData uri="http://schemas.openxmlformats.org/drawingml/2006/table">
            <a:tbl>
              <a:tblPr/>
              <a:tblGrid>
                <a:gridCol w="207494">
                  <a:extLst>
                    <a:ext uri="{9D8B030D-6E8A-4147-A177-3AD203B41FA5}">
                      <a16:colId xmlns:a16="http://schemas.microsoft.com/office/drawing/2014/main" val="241758495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28471621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50467560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7957511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12760906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182590902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67137638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880676913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049820557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56305111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2654775185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81099589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797221206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17447233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675743954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54637630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49828491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419557979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19830569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475560408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593861522"/>
                    </a:ext>
                  </a:extLst>
                </a:gridCol>
                <a:gridCol w="207494">
                  <a:extLst>
                    <a:ext uri="{9D8B030D-6E8A-4147-A177-3AD203B41FA5}">
                      <a16:colId xmlns:a16="http://schemas.microsoft.com/office/drawing/2014/main" val="3898080873"/>
                    </a:ext>
                  </a:extLst>
                </a:gridCol>
              </a:tblGrid>
              <a:tr h="100951"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68" marR="7468" marT="7468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896940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6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5</a:t>
                      </a:r>
                    </a:p>
                  </a:txBody>
                  <a:tcPr marL="7468" marR="7468" marT="746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9208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F858DAD-DC20-4393-92A6-B21E618FF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103461"/>
              </p:ext>
            </p:extLst>
          </p:nvPr>
        </p:nvGraphicFramePr>
        <p:xfrm>
          <a:off x="8809626" y="987423"/>
          <a:ext cx="639173" cy="5460980"/>
        </p:xfrm>
        <a:graphic>
          <a:graphicData uri="http://schemas.openxmlformats.org/drawingml/2006/table">
            <a:tbl>
              <a:tblPr/>
              <a:tblGrid>
                <a:gridCol w="639173">
                  <a:extLst>
                    <a:ext uri="{9D8B030D-6E8A-4147-A177-3AD203B41FA5}">
                      <a16:colId xmlns:a16="http://schemas.microsoft.com/office/drawing/2014/main" val="677865195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85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432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6501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2965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52130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7257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32210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4503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4077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77696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817798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3871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56917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98279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9164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984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31412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2288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085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08512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41527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10467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7853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3067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6600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4432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72348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85866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610781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8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 7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0C3D934-3936-4830-AA8A-16275D2CB2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916148"/>
              </p:ext>
            </p:extLst>
          </p:nvPr>
        </p:nvGraphicFramePr>
        <p:xfrm>
          <a:off x="8781368" y="1159938"/>
          <a:ext cx="705532" cy="5288490"/>
        </p:xfrm>
        <a:graphic>
          <a:graphicData uri="http://schemas.openxmlformats.org/drawingml/2006/table">
            <a:tbl>
              <a:tblPr/>
              <a:tblGrid>
                <a:gridCol w="705532">
                  <a:extLst>
                    <a:ext uri="{9D8B030D-6E8A-4147-A177-3AD203B41FA5}">
                      <a16:colId xmlns:a16="http://schemas.microsoft.com/office/drawing/2014/main" val="2135004617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89530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82945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2848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4332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66862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0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718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54805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61459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7603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591549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1842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71491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770570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725838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35667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85592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583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64669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68375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36717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26588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722666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2917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351389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04894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77212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09198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2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147538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348 (3 24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83 (17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55 (64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79 (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128 (1 42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58 (6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19 (1 03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2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67 (1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15175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9824255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7613337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A35F7CA0-47E8-4270-8445-E1907B4987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7562945"/>
              </p:ext>
            </p:extLst>
          </p:nvPr>
        </p:nvGraphicFramePr>
        <p:xfrm>
          <a:off x="7362822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63750327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097364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4310799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571737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02762386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80572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2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7893265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 k 26. 2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2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303371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990050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01</TotalTime>
  <Words>16693</Words>
  <Application>Microsoft Office PowerPoint</Application>
  <PresentationFormat>Širokoúhlá obrazovka</PresentationFormat>
  <Paragraphs>7106</Paragraphs>
  <Slides>6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3</vt:i4>
      </vt:variant>
    </vt:vector>
  </HeadingPairs>
  <TitlesOfParts>
    <vt:vector size="67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33</cp:revision>
  <dcterms:created xsi:type="dcterms:W3CDTF">2020-11-14T10:09:00Z</dcterms:created>
  <dcterms:modified xsi:type="dcterms:W3CDTF">2022-02-26T19:30:54Z</dcterms:modified>
</cp:coreProperties>
</file>